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4"/>
  </p:notesMasterIdLst>
  <p:sldIdLst>
    <p:sldId id="2287" r:id="rId5"/>
    <p:sldId id="2288" r:id="rId6"/>
    <p:sldId id="2286" r:id="rId7"/>
    <p:sldId id="2289" r:id="rId8"/>
    <p:sldId id="2281" r:id="rId9"/>
    <p:sldId id="2284" r:id="rId10"/>
    <p:sldId id="2291" r:id="rId11"/>
    <p:sldId id="2282" r:id="rId12"/>
    <p:sldId id="2290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F7AAD8-7A36-EEB1-E06B-37499E5741DB}" v="38" dt="2022-08-25T13:54:57.96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5" d="100"/>
          <a:sy n="75" d="100"/>
        </p:scale>
        <p:origin x="3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mbe Tabitha" userId="f83f624f-03d5-4386-8962-054036e70eac" providerId="ADAL" clId="{B26D3400-A556-4BFF-8353-60153E43E2D2}"/>
    <pc:docChg chg="undo custSel addSld delSld modSld sldOrd">
      <pc:chgData name="Tambe Tabitha" userId="f83f624f-03d5-4386-8962-054036e70eac" providerId="ADAL" clId="{B26D3400-A556-4BFF-8353-60153E43E2D2}" dt="2022-03-03T16:41:52.462" v="2312" actId="20577"/>
      <pc:docMkLst>
        <pc:docMk/>
      </pc:docMkLst>
      <pc:sldChg chg="addSp delSp modSp mod">
        <pc:chgData name="Tambe Tabitha" userId="f83f624f-03d5-4386-8962-054036e70eac" providerId="ADAL" clId="{B26D3400-A556-4BFF-8353-60153E43E2D2}" dt="2022-03-03T10:19:06.438" v="878" actId="20577"/>
        <pc:sldMkLst>
          <pc:docMk/>
          <pc:sldMk cId="3551227195" sldId="2281"/>
        </pc:sldMkLst>
        <pc:spChg chg="del mod">
          <ac:chgData name="Tambe Tabitha" userId="f83f624f-03d5-4386-8962-054036e70eac" providerId="ADAL" clId="{B26D3400-A556-4BFF-8353-60153E43E2D2}" dt="2022-02-24T14:41:51.354" v="33" actId="478"/>
          <ac:spMkLst>
            <pc:docMk/>
            <pc:sldMk cId="3551227195" sldId="2281"/>
            <ac:spMk id="4" creationId="{C32CEAAC-31BF-410C-8323-3BFCAA95D447}"/>
          </ac:spMkLst>
        </pc:spChg>
        <pc:spChg chg="del mod topLvl">
          <ac:chgData name="Tambe Tabitha" userId="f83f624f-03d5-4386-8962-054036e70eac" providerId="ADAL" clId="{B26D3400-A556-4BFF-8353-60153E43E2D2}" dt="2022-03-03T09:45:58.700" v="438" actId="478"/>
          <ac:spMkLst>
            <pc:docMk/>
            <pc:sldMk cId="3551227195" sldId="2281"/>
            <ac:spMk id="5" creationId="{09ED06CD-F9E3-4FE3-A478-6E91FDB32D94}"/>
          </ac:spMkLst>
        </pc:spChg>
        <pc:spChg chg="del mod">
          <ac:chgData name="Tambe Tabitha" userId="f83f624f-03d5-4386-8962-054036e70eac" providerId="ADAL" clId="{B26D3400-A556-4BFF-8353-60153E43E2D2}" dt="2022-03-03T09:24:09.219" v="258" actId="478"/>
          <ac:spMkLst>
            <pc:docMk/>
            <pc:sldMk cId="3551227195" sldId="2281"/>
            <ac:spMk id="6" creationId="{252AA61E-2A3E-4E0C-BFB3-78B669CA63DB}"/>
          </ac:spMkLst>
        </pc:spChg>
        <pc:spChg chg="add del mod topLvl">
          <ac:chgData name="Tambe Tabitha" userId="f83f624f-03d5-4386-8962-054036e70eac" providerId="ADAL" clId="{B26D3400-A556-4BFF-8353-60153E43E2D2}" dt="2022-03-03T10:00:21.957" v="521" actId="14100"/>
          <ac:spMkLst>
            <pc:docMk/>
            <pc:sldMk cId="3551227195" sldId="2281"/>
            <ac:spMk id="7" creationId="{1A1B734A-E3C8-4A9B-A618-C935A7359C68}"/>
          </ac:spMkLst>
        </pc:spChg>
        <pc:spChg chg="mod">
          <ac:chgData name="Tambe Tabitha" userId="f83f624f-03d5-4386-8962-054036e70eac" providerId="ADAL" clId="{B26D3400-A556-4BFF-8353-60153E43E2D2}" dt="2022-03-03T10:04:54.125" v="555" actId="5793"/>
          <ac:spMkLst>
            <pc:docMk/>
            <pc:sldMk cId="3551227195" sldId="2281"/>
            <ac:spMk id="10" creationId="{72881626-DB53-4013-8BC4-35C17269F9AD}"/>
          </ac:spMkLst>
        </pc:spChg>
        <pc:spChg chg="mod">
          <ac:chgData name="Tambe Tabitha" userId="f83f624f-03d5-4386-8962-054036e70eac" providerId="ADAL" clId="{B26D3400-A556-4BFF-8353-60153E43E2D2}" dt="2022-03-03T10:05:00.320" v="557" actId="20577"/>
          <ac:spMkLst>
            <pc:docMk/>
            <pc:sldMk cId="3551227195" sldId="2281"/>
            <ac:spMk id="11" creationId="{5174C9C0-28D7-4CC4-A07A-9B7892483194}"/>
          </ac:spMkLst>
        </pc:spChg>
        <pc:spChg chg="mod">
          <ac:chgData name="Tambe Tabitha" userId="f83f624f-03d5-4386-8962-054036e70eac" providerId="ADAL" clId="{B26D3400-A556-4BFF-8353-60153E43E2D2}" dt="2022-03-03T10:04:56.913" v="556" actId="5793"/>
          <ac:spMkLst>
            <pc:docMk/>
            <pc:sldMk cId="3551227195" sldId="2281"/>
            <ac:spMk id="13" creationId="{CBABE523-151B-4BAB-9F5C-F8E08CEFF5EC}"/>
          </ac:spMkLst>
        </pc:spChg>
        <pc:spChg chg="mod">
          <ac:chgData name="Tambe Tabitha" userId="f83f624f-03d5-4386-8962-054036e70eac" providerId="ADAL" clId="{B26D3400-A556-4BFF-8353-60153E43E2D2}" dt="2022-03-03T10:05:03.519" v="558" actId="20577"/>
          <ac:spMkLst>
            <pc:docMk/>
            <pc:sldMk cId="3551227195" sldId="2281"/>
            <ac:spMk id="14" creationId="{79F3E8E9-4D97-4158-932C-AE501975DA7B}"/>
          </ac:spMkLst>
        </pc:spChg>
        <pc:spChg chg="mod">
          <ac:chgData name="Tambe Tabitha" userId="f83f624f-03d5-4386-8962-054036e70eac" providerId="ADAL" clId="{B26D3400-A556-4BFF-8353-60153E43E2D2}" dt="2022-03-03T09:24:40.434" v="260" actId="165"/>
          <ac:spMkLst>
            <pc:docMk/>
            <pc:sldMk cId="3551227195" sldId="2281"/>
            <ac:spMk id="16" creationId="{D42708BA-D49C-42D0-916C-204A44E0B75E}"/>
          </ac:spMkLst>
        </pc:spChg>
        <pc:spChg chg="mod">
          <ac:chgData name="Tambe Tabitha" userId="f83f624f-03d5-4386-8962-054036e70eac" providerId="ADAL" clId="{B26D3400-A556-4BFF-8353-60153E43E2D2}" dt="2022-03-03T09:24:40.434" v="260" actId="165"/>
          <ac:spMkLst>
            <pc:docMk/>
            <pc:sldMk cId="3551227195" sldId="2281"/>
            <ac:spMk id="17" creationId="{E9961AC3-7944-43EE-958C-E8CB9359FDFA}"/>
          </ac:spMkLst>
        </pc:spChg>
        <pc:spChg chg="add del mod">
          <ac:chgData name="Tambe Tabitha" userId="f83f624f-03d5-4386-8962-054036e70eac" providerId="ADAL" clId="{B26D3400-A556-4BFF-8353-60153E43E2D2}" dt="2022-03-03T09:33:41.155" v="380"/>
          <ac:spMkLst>
            <pc:docMk/>
            <pc:sldMk cId="3551227195" sldId="2281"/>
            <ac:spMk id="20" creationId="{0D9ACDB2-523A-4002-A119-98D17FD990B4}"/>
          </ac:spMkLst>
        </pc:spChg>
        <pc:spChg chg="add del mod topLvl">
          <ac:chgData name="Tambe Tabitha" userId="f83f624f-03d5-4386-8962-054036e70eac" providerId="ADAL" clId="{B26D3400-A556-4BFF-8353-60153E43E2D2}" dt="2022-03-03T09:46:34.030" v="442" actId="478"/>
          <ac:spMkLst>
            <pc:docMk/>
            <pc:sldMk cId="3551227195" sldId="2281"/>
            <ac:spMk id="21" creationId="{1251C7DD-D547-4D21-B839-3E894215252C}"/>
          </ac:spMkLst>
        </pc:spChg>
        <pc:spChg chg="del mod topLvl">
          <ac:chgData name="Tambe Tabitha" userId="f83f624f-03d5-4386-8962-054036e70eac" providerId="ADAL" clId="{B26D3400-A556-4BFF-8353-60153E43E2D2}" dt="2022-03-03T10:05:10.907" v="559" actId="478"/>
          <ac:spMkLst>
            <pc:docMk/>
            <pc:sldMk cId="3551227195" sldId="2281"/>
            <ac:spMk id="22" creationId="{A97E85BE-216B-4D83-A99B-DDB19540164E}"/>
          </ac:spMkLst>
        </pc:spChg>
        <pc:spChg chg="del mod topLvl">
          <ac:chgData name="Tambe Tabitha" userId="f83f624f-03d5-4386-8962-054036e70eac" providerId="ADAL" clId="{B26D3400-A556-4BFF-8353-60153E43E2D2}" dt="2022-03-03T09:32:25.427" v="372" actId="478"/>
          <ac:spMkLst>
            <pc:docMk/>
            <pc:sldMk cId="3551227195" sldId="2281"/>
            <ac:spMk id="23" creationId="{63D5DEA9-07B1-4BF9-9D35-BE2C0039926C}"/>
          </ac:spMkLst>
        </pc:spChg>
        <pc:spChg chg="add mod topLvl">
          <ac:chgData name="Tambe Tabitha" userId="f83f624f-03d5-4386-8962-054036e70eac" providerId="ADAL" clId="{B26D3400-A556-4BFF-8353-60153E43E2D2}" dt="2022-03-03T09:41:55.453" v="431" actId="208"/>
          <ac:spMkLst>
            <pc:docMk/>
            <pc:sldMk cId="3551227195" sldId="2281"/>
            <ac:spMk id="24" creationId="{FA79DB6C-FAA8-417F-ACE4-4ED74C535AD1}"/>
          </ac:spMkLst>
        </pc:spChg>
        <pc:spChg chg="mod topLvl">
          <ac:chgData name="Tambe Tabitha" userId="f83f624f-03d5-4386-8962-054036e70eac" providerId="ADAL" clId="{B26D3400-A556-4BFF-8353-60153E43E2D2}" dt="2022-03-03T09:40:47.440" v="428" actId="165"/>
          <ac:spMkLst>
            <pc:docMk/>
            <pc:sldMk cId="3551227195" sldId="2281"/>
            <ac:spMk id="26" creationId="{6EDD3A8F-23ED-4FF5-97E4-F6374519851A}"/>
          </ac:spMkLst>
        </pc:spChg>
        <pc:spChg chg="del mod topLvl">
          <ac:chgData name="Tambe Tabitha" userId="f83f624f-03d5-4386-8962-054036e70eac" providerId="ADAL" clId="{B26D3400-A556-4BFF-8353-60153E43E2D2}" dt="2022-03-03T09:25:41.222" v="283" actId="478"/>
          <ac:spMkLst>
            <pc:docMk/>
            <pc:sldMk cId="3551227195" sldId="2281"/>
            <ac:spMk id="27" creationId="{56391084-ACE7-4427-8682-FBF28849EF96}"/>
          </ac:spMkLst>
        </pc:spChg>
        <pc:spChg chg="add mod">
          <ac:chgData name="Tambe Tabitha" userId="f83f624f-03d5-4386-8962-054036e70eac" providerId="ADAL" clId="{B26D3400-A556-4BFF-8353-60153E43E2D2}" dt="2022-03-03T09:53:26.026" v="455" actId="1076"/>
          <ac:spMkLst>
            <pc:docMk/>
            <pc:sldMk cId="3551227195" sldId="2281"/>
            <ac:spMk id="30" creationId="{3D763C84-B0AA-4C3B-AF54-F578B806B1CB}"/>
          </ac:spMkLst>
        </pc:spChg>
        <pc:spChg chg="add mod">
          <ac:chgData name="Tambe Tabitha" userId="f83f624f-03d5-4386-8962-054036e70eac" providerId="ADAL" clId="{B26D3400-A556-4BFF-8353-60153E43E2D2}" dt="2022-03-03T10:07:37.918" v="571" actId="1076"/>
          <ac:spMkLst>
            <pc:docMk/>
            <pc:sldMk cId="3551227195" sldId="2281"/>
            <ac:spMk id="46" creationId="{B507FF47-FCA8-4239-BDCD-FCB60B1ADDCD}"/>
          </ac:spMkLst>
        </pc:spChg>
        <pc:spChg chg="add mod">
          <ac:chgData name="Tambe Tabitha" userId="f83f624f-03d5-4386-8962-054036e70eac" providerId="ADAL" clId="{B26D3400-A556-4BFF-8353-60153E43E2D2}" dt="2022-03-03T10:05:21.853" v="560" actId="1076"/>
          <ac:spMkLst>
            <pc:docMk/>
            <pc:sldMk cId="3551227195" sldId="2281"/>
            <ac:spMk id="49" creationId="{48E33CB6-272E-456F-A2AF-92E3CBEF14CC}"/>
          </ac:spMkLst>
        </pc:spChg>
        <pc:spChg chg="add mod">
          <ac:chgData name="Tambe Tabitha" userId="f83f624f-03d5-4386-8962-054036e70eac" providerId="ADAL" clId="{B26D3400-A556-4BFF-8353-60153E43E2D2}" dt="2022-03-03T10:05:26.945" v="561" actId="1076"/>
          <ac:spMkLst>
            <pc:docMk/>
            <pc:sldMk cId="3551227195" sldId="2281"/>
            <ac:spMk id="50" creationId="{BFA459C3-F2B1-42D9-B6A8-ED2F726FA345}"/>
          </ac:spMkLst>
        </pc:spChg>
        <pc:spChg chg="add mod">
          <ac:chgData name="Tambe Tabitha" userId="f83f624f-03d5-4386-8962-054036e70eac" providerId="ADAL" clId="{B26D3400-A556-4BFF-8353-60153E43E2D2}" dt="2022-03-03T10:19:06.438" v="878" actId="20577"/>
          <ac:spMkLst>
            <pc:docMk/>
            <pc:sldMk cId="3551227195" sldId="2281"/>
            <ac:spMk id="57" creationId="{5B3E4054-DA46-485D-99F9-4134A28A3547}"/>
          </ac:spMkLst>
        </pc:spChg>
        <pc:spChg chg="add mod">
          <ac:chgData name="Tambe Tabitha" userId="f83f624f-03d5-4386-8962-054036e70eac" providerId="ADAL" clId="{B26D3400-A556-4BFF-8353-60153E43E2D2}" dt="2022-03-03T10:12:15.527" v="693" actId="1076"/>
          <ac:spMkLst>
            <pc:docMk/>
            <pc:sldMk cId="3551227195" sldId="2281"/>
            <ac:spMk id="58" creationId="{B98C2F7B-9F89-48B1-8070-DD3B284FA437}"/>
          </ac:spMkLst>
        </pc:spChg>
        <pc:spChg chg="add mod">
          <ac:chgData name="Tambe Tabitha" userId="f83f624f-03d5-4386-8962-054036e70eac" providerId="ADAL" clId="{B26D3400-A556-4BFF-8353-60153E43E2D2}" dt="2022-03-03T10:13:42.782" v="714" actId="20577"/>
          <ac:spMkLst>
            <pc:docMk/>
            <pc:sldMk cId="3551227195" sldId="2281"/>
            <ac:spMk id="64" creationId="{57349891-E254-4F35-91A5-10C3CF886CE6}"/>
          </ac:spMkLst>
        </pc:spChg>
        <pc:spChg chg="add mod">
          <ac:chgData name="Tambe Tabitha" userId="f83f624f-03d5-4386-8962-054036e70eac" providerId="ADAL" clId="{B26D3400-A556-4BFF-8353-60153E43E2D2}" dt="2022-03-03T10:17:17.661" v="783" actId="1076"/>
          <ac:spMkLst>
            <pc:docMk/>
            <pc:sldMk cId="3551227195" sldId="2281"/>
            <ac:spMk id="65" creationId="{B7E25739-8DAA-4DD6-B5DC-1F0DDE8BD710}"/>
          </ac:spMkLst>
        </pc:spChg>
        <pc:grpChg chg="add del mod">
          <ac:chgData name="Tambe Tabitha" userId="f83f624f-03d5-4386-8962-054036e70eac" providerId="ADAL" clId="{B26D3400-A556-4BFF-8353-60153E43E2D2}" dt="2022-03-03T09:24:09.219" v="258" actId="478"/>
          <ac:grpSpMkLst>
            <pc:docMk/>
            <pc:sldMk cId="3551227195" sldId="2281"/>
            <ac:grpSpMk id="8" creationId="{9ECC0555-2142-4E9F-8684-69E0734F0A63}"/>
          </ac:grpSpMkLst>
        </pc:grpChg>
        <pc:grpChg chg="mod topLvl">
          <ac:chgData name="Tambe Tabitha" userId="f83f624f-03d5-4386-8962-054036e70eac" providerId="ADAL" clId="{B26D3400-A556-4BFF-8353-60153E43E2D2}" dt="2022-03-03T10:04:33.826" v="552" actId="14100"/>
          <ac:grpSpMkLst>
            <pc:docMk/>
            <pc:sldMk cId="3551227195" sldId="2281"/>
            <ac:grpSpMk id="9" creationId="{EB9101F1-89C8-473B-BD0A-BD79B1E87319}"/>
          </ac:grpSpMkLst>
        </pc:grpChg>
        <pc:grpChg chg="mod topLvl">
          <ac:chgData name="Tambe Tabitha" userId="f83f624f-03d5-4386-8962-054036e70eac" providerId="ADAL" clId="{B26D3400-A556-4BFF-8353-60153E43E2D2}" dt="2022-03-03T10:04:49.775" v="554" actId="14100"/>
          <ac:grpSpMkLst>
            <pc:docMk/>
            <pc:sldMk cId="3551227195" sldId="2281"/>
            <ac:grpSpMk id="12" creationId="{09AA8BB2-0242-4A16-9FDF-E8A8DEC54EBA}"/>
          </ac:grpSpMkLst>
        </pc:grpChg>
        <pc:grpChg chg="del mod topLvl">
          <ac:chgData name="Tambe Tabitha" userId="f83f624f-03d5-4386-8962-054036e70eac" providerId="ADAL" clId="{B26D3400-A556-4BFF-8353-60153E43E2D2}" dt="2022-03-03T09:24:44.160" v="262" actId="478"/>
          <ac:grpSpMkLst>
            <pc:docMk/>
            <pc:sldMk cId="3551227195" sldId="2281"/>
            <ac:grpSpMk id="15" creationId="{E986BB13-5018-4F96-A522-AC1B3082A609}"/>
          </ac:grpSpMkLst>
        </pc:grpChg>
        <pc:grpChg chg="add del mod">
          <ac:chgData name="Tambe Tabitha" userId="f83f624f-03d5-4386-8962-054036e70eac" providerId="ADAL" clId="{B26D3400-A556-4BFF-8353-60153E43E2D2}" dt="2022-03-03T09:24:40.434" v="260" actId="165"/>
          <ac:grpSpMkLst>
            <pc:docMk/>
            <pc:sldMk cId="3551227195" sldId="2281"/>
            <ac:grpSpMk id="18" creationId="{EFD3A2D2-6B08-40B4-AC57-B07A2701F88A}"/>
          </ac:grpSpMkLst>
        </pc:grpChg>
        <pc:grpChg chg="add del mod">
          <ac:chgData name="Tambe Tabitha" userId="f83f624f-03d5-4386-8962-054036e70eac" providerId="ADAL" clId="{B26D3400-A556-4BFF-8353-60153E43E2D2}" dt="2022-03-03T09:40:47.440" v="428" actId="165"/>
          <ac:grpSpMkLst>
            <pc:docMk/>
            <pc:sldMk cId="3551227195" sldId="2281"/>
            <ac:grpSpMk id="25" creationId="{C4765F44-BD3E-4B5A-B32C-6F00BD947B33}"/>
          </ac:grpSpMkLst>
        </pc:grpChg>
        <pc:grpChg chg="add del mod">
          <ac:chgData name="Tambe Tabitha" userId="f83f624f-03d5-4386-8962-054036e70eac" providerId="ADAL" clId="{B26D3400-A556-4BFF-8353-60153E43E2D2}" dt="2022-03-03T10:02:54.189" v="540" actId="165"/>
          <ac:grpSpMkLst>
            <pc:docMk/>
            <pc:sldMk cId="3551227195" sldId="2281"/>
            <ac:grpSpMk id="43" creationId="{CCC8FB84-251A-49D8-891C-52C9D5D6A74E}"/>
          </ac:grpSpMkLst>
        </pc:grpChg>
        <pc:cxnChg chg="add del mod topLvl">
          <ac:chgData name="Tambe Tabitha" userId="f83f624f-03d5-4386-8962-054036e70eac" providerId="ADAL" clId="{B26D3400-A556-4BFF-8353-60153E43E2D2}" dt="2022-03-03T09:26:24.054" v="299" actId="478"/>
          <ac:cxnSpMkLst>
            <pc:docMk/>
            <pc:sldMk cId="3551227195" sldId="2281"/>
            <ac:cxnSpMk id="19" creationId="{BC782747-5BC8-4363-88D5-35CD837544A0}"/>
          </ac:cxnSpMkLst>
        </pc:cxnChg>
        <pc:cxnChg chg="add del mod">
          <ac:chgData name="Tambe Tabitha" userId="f83f624f-03d5-4386-8962-054036e70eac" providerId="ADAL" clId="{B26D3400-A556-4BFF-8353-60153E43E2D2}" dt="2022-03-03T09:44:20.273" v="437" actId="11529"/>
          <ac:cxnSpMkLst>
            <pc:docMk/>
            <pc:sldMk cId="3551227195" sldId="2281"/>
            <ac:cxnSpMk id="29" creationId="{CC684D17-B80C-4197-9C45-6012F37B3357}"/>
          </ac:cxnSpMkLst>
        </pc:cxnChg>
        <pc:cxnChg chg="add mod">
          <ac:chgData name="Tambe Tabitha" userId="f83f624f-03d5-4386-8962-054036e70eac" providerId="ADAL" clId="{B26D3400-A556-4BFF-8353-60153E43E2D2}" dt="2022-03-03T09:56:26.195" v="485" actId="692"/>
          <ac:cxnSpMkLst>
            <pc:docMk/>
            <pc:sldMk cId="3551227195" sldId="2281"/>
            <ac:cxnSpMk id="32" creationId="{AE21C58F-6BF1-445A-A4E7-BAFD151C04AD}"/>
          </ac:cxnSpMkLst>
        </pc:cxnChg>
        <pc:cxnChg chg="add mod topLvl">
          <ac:chgData name="Tambe Tabitha" userId="f83f624f-03d5-4386-8962-054036e70eac" providerId="ADAL" clId="{B26D3400-A556-4BFF-8353-60153E43E2D2}" dt="2022-03-03T10:03:28.279" v="547" actId="14100"/>
          <ac:cxnSpMkLst>
            <pc:docMk/>
            <pc:sldMk cId="3551227195" sldId="2281"/>
            <ac:cxnSpMk id="37" creationId="{A46FB048-479D-47B9-AD9F-FEE7929E16BE}"/>
          </ac:cxnSpMkLst>
        </pc:cxnChg>
        <pc:cxnChg chg="add mod topLvl">
          <ac:chgData name="Tambe Tabitha" userId="f83f624f-03d5-4386-8962-054036e70eac" providerId="ADAL" clId="{B26D3400-A556-4BFF-8353-60153E43E2D2}" dt="2022-03-03T10:03:57.747" v="550" actId="1076"/>
          <ac:cxnSpMkLst>
            <pc:docMk/>
            <pc:sldMk cId="3551227195" sldId="2281"/>
            <ac:cxnSpMk id="39" creationId="{4F49B14D-18C8-4627-9DE5-362D92A20020}"/>
          </ac:cxnSpMkLst>
        </pc:cxnChg>
        <pc:cxnChg chg="add mod">
          <ac:chgData name="Tambe Tabitha" userId="f83f624f-03d5-4386-8962-054036e70eac" providerId="ADAL" clId="{B26D3400-A556-4BFF-8353-60153E43E2D2}" dt="2022-03-03T10:06:36.239" v="568" actId="692"/>
          <ac:cxnSpMkLst>
            <pc:docMk/>
            <pc:sldMk cId="3551227195" sldId="2281"/>
            <ac:cxnSpMk id="45" creationId="{2825FDB1-9EF7-4511-8BBD-AD77BCE427EE}"/>
          </ac:cxnSpMkLst>
        </pc:cxnChg>
        <pc:cxnChg chg="add mod">
          <ac:chgData name="Tambe Tabitha" userId="f83f624f-03d5-4386-8962-054036e70eac" providerId="ADAL" clId="{B26D3400-A556-4BFF-8353-60153E43E2D2}" dt="2022-03-03T10:07:37.918" v="571" actId="1076"/>
          <ac:cxnSpMkLst>
            <pc:docMk/>
            <pc:sldMk cId="3551227195" sldId="2281"/>
            <ac:cxnSpMk id="55" creationId="{B2EF4F46-8696-4E5B-BDD5-114A6EBBA7F7}"/>
          </ac:cxnSpMkLst>
        </pc:cxnChg>
        <pc:cxnChg chg="add mod">
          <ac:chgData name="Tambe Tabitha" userId="f83f624f-03d5-4386-8962-054036e70eac" providerId="ADAL" clId="{B26D3400-A556-4BFF-8353-60153E43E2D2}" dt="2022-03-03T10:13:02.446" v="695" actId="571"/>
          <ac:cxnSpMkLst>
            <pc:docMk/>
            <pc:sldMk cId="3551227195" sldId="2281"/>
            <ac:cxnSpMk id="59" creationId="{4BEB654C-E57C-4273-8B39-D76DD8BF7308}"/>
          </ac:cxnSpMkLst>
        </pc:cxnChg>
      </pc:sldChg>
      <pc:sldChg chg="addSp delSp modSp mod">
        <pc:chgData name="Tambe Tabitha" userId="f83f624f-03d5-4386-8962-054036e70eac" providerId="ADAL" clId="{B26D3400-A556-4BFF-8353-60153E43E2D2}" dt="2022-03-03T16:26:28.290" v="1999" actId="14100"/>
        <pc:sldMkLst>
          <pc:docMk/>
          <pc:sldMk cId="461282927" sldId="2282"/>
        </pc:sldMkLst>
        <pc:spChg chg="mod">
          <ac:chgData name="Tambe Tabitha" userId="f83f624f-03d5-4386-8962-054036e70eac" providerId="ADAL" clId="{B26D3400-A556-4BFF-8353-60153E43E2D2}" dt="2022-03-03T12:59:52.587" v="1475" actId="14100"/>
          <ac:spMkLst>
            <pc:docMk/>
            <pc:sldMk cId="461282927" sldId="2282"/>
            <ac:spMk id="2" creationId="{C866C82E-7AE4-4BD5-A34D-2D64A00BA789}"/>
          </ac:spMkLst>
        </pc:spChg>
        <pc:spChg chg="add mod ord">
          <ac:chgData name="Tambe Tabitha" userId="f83f624f-03d5-4386-8962-054036e70eac" providerId="ADAL" clId="{B26D3400-A556-4BFF-8353-60153E43E2D2}" dt="2022-03-03T16:23:14.750" v="1988" actId="170"/>
          <ac:spMkLst>
            <pc:docMk/>
            <pc:sldMk cId="461282927" sldId="2282"/>
            <ac:spMk id="4" creationId="{565AF313-2C5E-4637-A24A-6385F7D88342}"/>
          </ac:spMkLst>
        </pc:spChg>
        <pc:spChg chg="del">
          <ac:chgData name="Tambe Tabitha" userId="f83f624f-03d5-4386-8962-054036e70eac" providerId="ADAL" clId="{B26D3400-A556-4BFF-8353-60153E43E2D2}" dt="2022-03-03T10:14:23.364" v="719" actId="478"/>
          <ac:spMkLst>
            <pc:docMk/>
            <pc:sldMk cId="461282927" sldId="2282"/>
            <ac:spMk id="5" creationId="{09ED06CD-F9E3-4FE3-A478-6E91FDB32D94}"/>
          </ac:spMkLst>
        </pc:spChg>
        <pc:spChg chg="del mod topLvl">
          <ac:chgData name="Tambe Tabitha" userId="f83f624f-03d5-4386-8962-054036e70eac" providerId="ADAL" clId="{B26D3400-A556-4BFF-8353-60153E43E2D2}" dt="2022-03-03T10:14:03.917" v="717" actId="478"/>
          <ac:spMkLst>
            <pc:docMk/>
            <pc:sldMk cId="461282927" sldId="2282"/>
            <ac:spMk id="6" creationId="{252AA61E-2A3E-4E0C-BFB3-78B669CA63DB}"/>
          </ac:spMkLst>
        </pc:spChg>
        <pc:spChg chg="del topLvl">
          <ac:chgData name="Tambe Tabitha" userId="f83f624f-03d5-4386-8962-054036e70eac" providerId="ADAL" clId="{B26D3400-A556-4BFF-8353-60153E43E2D2}" dt="2022-03-03T10:14:18.257" v="718" actId="478"/>
          <ac:spMkLst>
            <pc:docMk/>
            <pc:sldMk cId="461282927" sldId="2282"/>
            <ac:spMk id="7" creationId="{1A1B734A-E3C8-4A9B-A618-C935A7359C68}"/>
          </ac:spMkLst>
        </pc:spChg>
        <pc:spChg chg="del">
          <ac:chgData name="Tambe Tabitha" userId="f83f624f-03d5-4386-8962-054036e70eac" providerId="ADAL" clId="{B26D3400-A556-4BFF-8353-60153E43E2D2}" dt="2022-03-03T10:14:25.864" v="720" actId="478"/>
          <ac:spMkLst>
            <pc:docMk/>
            <pc:sldMk cId="461282927" sldId="2282"/>
            <ac:spMk id="21" creationId="{1251C7DD-D547-4D21-B839-3E894215252C}"/>
          </ac:spMkLst>
        </pc:spChg>
        <pc:spChg chg="del">
          <ac:chgData name="Tambe Tabitha" userId="f83f624f-03d5-4386-8962-054036e70eac" providerId="ADAL" clId="{B26D3400-A556-4BFF-8353-60153E43E2D2}" dt="2022-03-03T10:14:18.257" v="718" actId="478"/>
          <ac:spMkLst>
            <pc:docMk/>
            <pc:sldMk cId="461282927" sldId="2282"/>
            <ac:spMk id="22" creationId="{A97E85BE-216B-4D83-A99B-DDB19540164E}"/>
          </ac:spMkLst>
        </pc:spChg>
        <pc:spChg chg="del">
          <ac:chgData name="Tambe Tabitha" userId="f83f624f-03d5-4386-8962-054036e70eac" providerId="ADAL" clId="{B26D3400-A556-4BFF-8353-60153E43E2D2}" dt="2022-03-03T10:14:18.257" v="718" actId="478"/>
          <ac:spMkLst>
            <pc:docMk/>
            <pc:sldMk cId="461282927" sldId="2282"/>
            <ac:spMk id="23" creationId="{63D5DEA9-07B1-4BF9-9D35-BE2C0039926C}"/>
          </ac:spMkLst>
        </pc:spChg>
        <pc:spChg chg="add mod">
          <ac:chgData name="Tambe Tabitha" userId="f83f624f-03d5-4386-8962-054036e70eac" providerId="ADAL" clId="{B26D3400-A556-4BFF-8353-60153E43E2D2}" dt="2022-03-03T12:26:24.402" v="998" actId="20577"/>
          <ac:spMkLst>
            <pc:docMk/>
            <pc:sldMk cId="461282927" sldId="2282"/>
            <ac:spMk id="24" creationId="{51359E0D-2283-41CA-AE60-A69AD85E35BC}"/>
          </ac:spMkLst>
        </pc:spChg>
        <pc:spChg chg="add mod">
          <ac:chgData name="Tambe Tabitha" userId="f83f624f-03d5-4386-8962-054036e70eac" providerId="ADAL" clId="{B26D3400-A556-4BFF-8353-60153E43E2D2}" dt="2022-03-03T16:21:38.303" v="1975" actId="1076"/>
          <ac:spMkLst>
            <pc:docMk/>
            <pc:sldMk cId="461282927" sldId="2282"/>
            <ac:spMk id="25" creationId="{F6627712-E2D1-4179-AFA9-B41BCB22C138}"/>
          </ac:spMkLst>
        </pc:spChg>
        <pc:spChg chg="mod">
          <ac:chgData name="Tambe Tabitha" userId="f83f624f-03d5-4386-8962-054036e70eac" providerId="ADAL" clId="{B26D3400-A556-4BFF-8353-60153E43E2D2}" dt="2022-03-03T16:21:33.816" v="1974" actId="1076"/>
          <ac:spMkLst>
            <pc:docMk/>
            <pc:sldMk cId="461282927" sldId="2282"/>
            <ac:spMk id="26" creationId="{6EDD3A8F-23ED-4FF5-97E4-F6374519851A}"/>
          </ac:spMkLst>
        </pc:spChg>
        <pc:spChg chg="del">
          <ac:chgData name="Tambe Tabitha" userId="f83f624f-03d5-4386-8962-054036e70eac" providerId="ADAL" clId="{B26D3400-A556-4BFF-8353-60153E43E2D2}" dt="2022-03-03T10:14:18.257" v="718" actId="478"/>
          <ac:spMkLst>
            <pc:docMk/>
            <pc:sldMk cId="461282927" sldId="2282"/>
            <ac:spMk id="27" creationId="{56391084-ACE7-4427-8682-FBF28849EF96}"/>
          </ac:spMkLst>
        </pc:spChg>
        <pc:spChg chg="mod topLvl">
          <ac:chgData name="Tambe Tabitha" userId="f83f624f-03d5-4386-8962-054036e70eac" providerId="ADAL" clId="{B26D3400-A556-4BFF-8353-60153E43E2D2}" dt="2022-03-03T16:25:38.112" v="1993" actId="165"/>
          <ac:spMkLst>
            <pc:docMk/>
            <pc:sldMk cId="461282927" sldId="2282"/>
            <ac:spMk id="29" creationId="{F4071156-CAF4-43BA-BAB6-82CEC52518DF}"/>
          </ac:spMkLst>
        </pc:spChg>
        <pc:spChg chg="mod topLvl">
          <ac:chgData name="Tambe Tabitha" userId="f83f624f-03d5-4386-8962-054036e70eac" providerId="ADAL" clId="{B26D3400-A556-4BFF-8353-60153E43E2D2}" dt="2022-03-03T16:25:54.429" v="1995" actId="207"/>
          <ac:spMkLst>
            <pc:docMk/>
            <pc:sldMk cId="461282927" sldId="2282"/>
            <ac:spMk id="30" creationId="{F9722221-0211-413F-999C-09E223DF5B74}"/>
          </ac:spMkLst>
        </pc:spChg>
        <pc:spChg chg="add mod">
          <ac:chgData name="Tambe Tabitha" userId="f83f624f-03d5-4386-8962-054036e70eac" providerId="ADAL" clId="{B26D3400-A556-4BFF-8353-60153E43E2D2}" dt="2022-03-03T12:28:16.793" v="1094" actId="20577"/>
          <ac:spMkLst>
            <pc:docMk/>
            <pc:sldMk cId="461282927" sldId="2282"/>
            <ac:spMk id="32" creationId="{11E2AB75-578B-480A-B0E9-126D14491DDE}"/>
          </ac:spMkLst>
        </pc:spChg>
        <pc:spChg chg="add del mod">
          <ac:chgData name="Tambe Tabitha" userId="f83f624f-03d5-4386-8962-054036e70eac" providerId="ADAL" clId="{B26D3400-A556-4BFF-8353-60153E43E2D2}" dt="2022-03-03T16:03:24.608" v="1569" actId="478"/>
          <ac:spMkLst>
            <pc:docMk/>
            <pc:sldMk cId="461282927" sldId="2282"/>
            <ac:spMk id="36" creationId="{0EB5A959-923F-4128-83DE-0BD28828BF44}"/>
          </ac:spMkLst>
        </pc:spChg>
        <pc:spChg chg="add del mod">
          <ac:chgData name="Tambe Tabitha" userId="f83f624f-03d5-4386-8962-054036e70eac" providerId="ADAL" clId="{B26D3400-A556-4BFF-8353-60153E43E2D2}" dt="2022-03-03T16:04:14.147" v="1575" actId="478"/>
          <ac:spMkLst>
            <pc:docMk/>
            <pc:sldMk cId="461282927" sldId="2282"/>
            <ac:spMk id="52" creationId="{46E009A9-E3C8-4FD2-AA89-80569DDA01BA}"/>
          </ac:spMkLst>
        </pc:spChg>
        <pc:spChg chg="add mod">
          <ac:chgData name="Tambe Tabitha" userId="f83f624f-03d5-4386-8962-054036e70eac" providerId="ADAL" clId="{B26D3400-A556-4BFF-8353-60153E43E2D2}" dt="2022-03-03T16:26:28.290" v="1999" actId="14100"/>
          <ac:spMkLst>
            <pc:docMk/>
            <pc:sldMk cId="461282927" sldId="2282"/>
            <ac:spMk id="57" creationId="{ED37ACA4-49E7-4415-95AB-913333826D6D}"/>
          </ac:spMkLst>
        </pc:spChg>
        <pc:spChg chg="add del">
          <ac:chgData name="Tambe Tabitha" userId="f83f624f-03d5-4386-8962-054036e70eac" providerId="ADAL" clId="{B26D3400-A556-4BFF-8353-60153E43E2D2}" dt="2022-03-03T16:04:36.760" v="1577" actId="478"/>
          <ac:spMkLst>
            <pc:docMk/>
            <pc:sldMk cId="461282927" sldId="2282"/>
            <ac:spMk id="62" creationId="{0AC77D61-3E55-42DA-B244-0C7286AD63F8}"/>
          </ac:spMkLst>
        </pc:spChg>
        <pc:spChg chg="mod topLvl">
          <ac:chgData name="Tambe Tabitha" userId="f83f624f-03d5-4386-8962-054036e70eac" providerId="ADAL" clId="{B26D3400-A556-4BFF-8353-60153E43E2D2}" dt="2022-03-03T16:24:08.371" v="1990" actId="165"/>
          <ac:spMkLst>
            <pc:docMk/>
            <pc:sldMk cId="461282927" sldId="2282"/>
            <ac:spMk id="64" creationId="{C7FC1D73-5CA8-4DED-924C-CFD6C76F5CE8}"/>
          </ac:spMkLst>
        </pc:spChg>
        <pc:spChg chg="mod topLvl">
          <ac:chgData name="Tambe Tabitha" userId="f83f624f-03d5-4386-8962-054036e70eac" providerId="ADAL" clId="{B26D3400-A556-4BFF-8353-60153E43E2D2}" dt="2022-03-03T16:25:12.902" v="1992" actId="207"/>
          <ac:spMkLst>
            <pc:docMk/>
            <pc:sldMk cId="461282927" sldId="2282"/>
            <ac:spMk id="65" creationId="{EDF44A71-EA9D-4920-AB2C-30258199DD92}"/>
          </ac:spMkLst>
        </pc:spChg>
        <pc:spChg chg="add mod">
          <ac:chgData name="Tambe Tabitha" userId="f83f624f-03d5-4386-8962-054036e70eac" providerId="ADAL" clId="{B26D3400-A556-4BFF-8353-60153E43E2D2}" dt="2022-03-03T16:07:20.803" v="1656" actId="14100"/>
          <ac:spMkLst>
            <pc:docMk/>
            <pc:sldMk cId="461282927" sldId="2282"/>
            <ac:spMk id="66" creationId="{4E36B888-8337-4D23-82AF-B8E84FDB3EE0}"/>
          </ac:spMkLst>
        </pc:spChg>
        <pc:spChg chg="add mod">
          <ac:chgData name="Tambe Tabitha" userId="f83f624f-03d5-4386-8962-054036e70eac" providerId="ADAL" clId="{B26D3400-A556-4BFF-8353-60153E43E2D2}" dt="2022-03-03T16:13:09.590" v="1817" actId="207"/>
          <ac:spMkLst>
            <pc:docMk/>
            <pc:sldMk cId="461282927" sldId="2282"/>
            <ac:spMk id="67" creationId="{BCB00627-9CD3-4CDF-ADDA-D0438451D6F0}"/>
          </ac:spMkLst>
        </pc:spChg>
        <pc:spChg chg="add mod">
          <ac:chgData name="Tambe Tabitha" userId="f83f624f-03d5-4386-8962-054036e70eac" providerId="ADAL" clId="{B26D3400-A556-4BFF-8353-60153E43E2D2}" dt="2022-03-03T16:26:25.200" v="1998" actId="688"/>
          <ac:spMkLst>
            <pc:docMk/>
            <pc:sldMk cId="461282927" sldId="2282"/>
            <ac:spMk id="68" creationId="{699265A9-3F2D-49F1-A541-EB433636A4D1}"/>
          </ac:spMkLst>
        </pc:spChg>
        <pc:spChg chg="add mod">
          <ac:chgData name="Tambe Tabitha" userId="f83f624f-03d5-4386-8962-054036e70eac" providerId="ADAL" clId="{B26D3400-A556-4BFF-8353-60153E43E2D2}" dt="2022-03-03T16:15:01.331" v="1852" actId="1076"/>
          <ac:spMkLst>
            <pc:docMk/>
            <pc:sldMk cId="461282927" sldId="2282"/>
            <ac:spMk id="69" creationId="{3B5509A0-D442-41AA-B405-F488DC3EEF58}"/>
          </ac:spMkLst>
        </pc:spChg>
        <pc:spChg chg="add del mod">
          <ac:chgData name="Tambe Tabitha" userId="f83f624f-03d5-4386-8962-054036e70eac" providerId="ADAL" clId="{B26D3400-A556-4BFF-8353-60153E43E2D2}" dt="2022-03-03T16:15:31.996" v="1863" actId="478"/>
          <ac:spMkLst>
            <pc:docMk/>
            <pc:sldMk cId="461282927" sldId="2282"/>
            <ac:spMk id="70" creationId="{0A64EF2B-C0BE-475F-B7F1-4C35D85DBEEE}"/>
          </ac:spMkLst>
        </pc:spChg>
        <pc:spChg chg="add mod">
          <ac:chgData name="Tambe Tabitha" userId="f83f624f-03d5-4386-8962-054036e70eac" providerId="ADAL" clId="{B26D3400-A556-4BFF-8353-60153E43E2D2}" dt="2022-03-03T16:21:18.064" v="1971" actId="20577"/>
          <ac:spMkLst>
            <pc:docMk/>
            <pc:sldMk cId="461282927" sldId="2282"/>
            <ac:spMk id="71" creationId="{0C04D0A7-1596-4A7F-BC09-67343DA4CDF8}"/>
          </ac:spMkLst>
        </pc:spChg>
        <pc:spChg chg="add del">
          <ac:chgData name="Tambe Tabitha" userId="f83f624f-03d5-4386-8962-054036e70eac" providerId="ADAL" clId="{B26D3400-A556-4BFF-8353-60153E43E2D2}" dt="2022-03-03T16:17:56.397" v="1876" actId="478"/>
          <ac:spMkLst>
            <pc:docMk/>
            <pc:sldMk cId="461282927" sldId="2282"/>
            <ac:spMk id="72" creationId="{E40EE15B-94AC-4EEA-A342-D8BF013F9BA2}"/>
          </ac:spMkLst>
        </pc:spChg>
        <pc:spChg chg="add mod">
          <ac:chgData name="Tambe Tabitha" userId="f83f624f-03d5-4386-8962-054036e70eac" providerId="ADAL" clId="{B26D3400-A556-4BFF-8353-60153E43E2D2}" dt="2022-03-03T16:20:13.938" v="1906" actId="207"/>
          <ac:spMkLst>
            <pc:docMk/>
            <pc:sldMk cId="461282927" sldId="2282"/>
            <ac:spMk id="73" creationId="{88C8EF60-A27B-4D25-9ACA-CF7915B3E41F}"/>
          </ac:spMkLst>
        </pc:spChg>
        <pc:spChg chg="add mod">
          <ac:chgData name="Tambe Tabitha" userId="f83f624f-03d5-4386-8962-054036e70eac" providerId="ADAL" clId="{B26D3400-A556-4BFF-8353-60153E43E2D2}" dt="2022-03-03T16:22:21.195" v="1984" actId="20577"/>
          <ac:spMkLst>
            <pc:docMk/>
            <pc:sldMk cId="461282927" sldId="2282"/>
            <ac:spMk id="74" creationId="{DAF1A2ED-64C4-4C30-902B-0DCF41D63635}"/>
          </ac:spMkLst>
        </pc:spChg>
        <pc:grpChg chg="del">
          <ac:chgData name="Tambe Tabitha" userId="f83f624f-03d5-4386-8962-054036e70eac" providerId="ADAL" clId="{B26D3400-A556-4BFF-8353-60153E43E2D2}" dt="2022-03-03T10:14:03.917" v="717" actId="478"/>
          <ac:grpSpMkLst>
            <pc:docMk/>
            <pc:sldMk cId="461282927" sldId="2282"/>
            <ac:grpSpMk id="8" creationId="{9ECC0555-2142-4E9F-8684-69E0734F0A63}"/>
          </ac:grpSpMkLst>
        </pc:grpChg>
        <pc:grpChg chg="del">
          <ac:chgData name="Tambe Tabitha" userId="f83f624f-03d5-4386-8962-054036e70eac" providerId="ADAL" clId="{B26D3400-A556-4BFF-8353-60153E43E2D2}" dt="2022-03-03T10:14:18.257" v="718" actId="478"/>
          <ac:grpSpMkLst>
            <pc:docMk/>
            <pc:sldMk cId="461282927" sldId="2282"/>
            <ac:grpSpMk id="9" creationId="{EB9101F1-89C8-473B-BD0A-BD79B1E87319}"/>
          </ac:grpSpMkLst>
        </pc:grpChg>
        <pc:grpChg chg="del">
          <ac:chgData name="Tambe Tabitha" userId="f83f624f-03d5-4386-8962-054036e70eac" providerId="ADAL" clId="{B26D3400-A556-4BFF-8353-60153E43E2D2}" dt="2022-03-03T10:14:18.257" v="718" actId="478"/>
          <ac:grpSpMkLst>
            <pc:docMk/>
            <pc:sldMk cId="461282927" sldId="2282"/>
            <ac:grpSpMk id="12" creationId="{09AA8BB2-0242-4A16-9FDF-E8A8DEC54EBA}"/>
          </ac:grpSpMkLst>
        </pc:grpChg>
        <pc:grpChg chg="del">
          <ac:chgData name="Tambe Tabitha" userId="f83f624f-03d5-4386-8962-054036e70eac" providerId="ADAL" clId="{B26D3400-A556-4BFF-8353-60153E43E2D2}" dt="2022-03-03T10:14:18.257" v="718" actId="478"/>
          <ac:grpSpMkLst>
            <pc:docMk/>
            <pc:sldMk cId="461282927" sldId="2282"/>
            <ac:grpSpMk id="15" creationId="{E986BB13-5018-4F96-A522-AC1B3082A609}"/>
          </ac:grpSpMkLst>
        </pc:grpChg>
        <pc:grpChg chg="add del mod">
          <ac:chgData name="Tambe Tabitha" userId="f83f624f-03d5-4386-8962-054036e70eac" providerId="ADAL" clId="{B26D3400-A556-4BFF-8353-60153E43E2D2}" dt="2022-03-03T16:25:38.112" v="1993" actId="165"/>
          <ac:grpSpMkLst>
            <pc:docMk/>
            <pc:sldMk cId="461282927" sldId="2282"/>
            <ac:grpSpMk id="18" creationId="{E3C85ACD-0946-4A9A-9C5D-997AA4054D5C}"/>
          </ac:grpSpMkLst>
        </pc:grpChg>
        <pc:grpChg chg="add del mod">
          <ac:chgData name="Tambe Tabitha" userId="f83f624f-03d5-4386-8962-054036e70eac" providerId="ADAL" clId="{B26D3400-A556-4BFF-8353-60153E43E2D2}" dt="2022-03-03T12:24:42.653" v="976" actId="165"/>
          <ac:grpSpMkLst>
            <pc:docMk/>
            <pc:sldMk cId="461282927" sldId="2282"/>
            <ac:grpSpMk id="28" creationId="{6BE4F42E-792B-4EE4-9E5A-7F74D1EB66CD}"/>
          </ac:grpSpMkLst>
        </pc:grpChg>
        <pc:grpChg chg="add del mod">
          <ac:chgData name="Tambe Tabitha" userId="f83f624f-03d5-4386-8962-054036e70eac" providerId="ADAL" clId="{B26D3400-A556-4BFF-8353-60153E43E2D2}" dt="2022-03-03T16:24:08.371" v="1990" actId="165"/>
          <ac:grpSpMkLst>
            <pc:docMk/>
            <pc:sldMk cId="461282927" sldId="2282"/>
            <ac:grpSpMk id="63" creationId="{FE93509A-B36C-4B09-9D02-D41A090CA446}"/>
          </ac:grpSpMkLst>
        </pc:grpChg>
        <pc:cxnChg chg="del">
          <ac:chgData name="Tambe Tabitha" userId="f83f624f-03d5-4386-8962-054036e70eac" providerId="ADAL" clId="{B26D3400-A556-4BFF-8353-60153E43E2D2}" dt="2022-03-03T10:14:18.257" v="718" actId="478"/>
          <ac:cxnSpMkLst>
            <pc:docMk/>
            <pc:sldMk cId="461282927" sldId="2282"/>
            <ac:cxnSpMk id="19" creationId="{BC782747-5BC8-4363-88D5-35CD837544A0}"/>
          </ac:cxnSpMkLst>
        </pc:cxnChg>
        <pc:cxnChg chg="add del mod">
          <ac:chgData name="Tambe Tabitha" userId="f83f624f-03d5-4386-8962-054036e70eac" providerId="ADAL" clId="{B26D3400-A556-4BFF-8353-60153E43E2D2}" dt="2022-03-03T16:22:48.777" v="1985" actId="478"/>
          <ac:cxnSpMkLst>
            <pc:docMk/>
            <pc:sldMk cId="461282927" sldId="2282"/>
            <ac:cxnSpMk id="31" creationId="{932453CE-01C4-4B26-8C79-AF84247D3E29}"/>
          </ac:cxnSpMkLst>
        </pc:cxnChg>
        <pc:cxnChg chg="add del mod">
          <ac:chgData name="Tambe Tabitha" userId="f83f624f-03d5-4386-8962-054036e70eac" providerId="ADAL" clId="{B26D3400-A556-4BFF-8353-60153E43E2D2}" dt="2022-03-03T12:31:08.352" v="1145" actId="11529"/>
          <ac:cxnSpMkLst>
            <pc:docMk/>
            <pc:sldMk cId="461282927" sldId="2282"/>
            <ac:cxnSpMk id="38" creationId="{ED775E83-E546-48EC-8CAC-733B09358AB5}"/>
          </ac:cxnSpMkLst>
        </pc:cxnChg>
        <pc:cxnChg chg="add del mod">
          <ac:chgData name="Tambe Tabitha" userId="f83f624f-03d5-4386-8962-054036e70eac" providerId="ADAL" clId="{B26D3400-A556-4BFF-8353-60153E43E2D2}" dt="2022-03-03T13:01:03.209" v="1477" actId="478"/>
          <ac:cxnSpMkLst>
            <pc:docMk/>
            <pc:sldMk cId="461282927" sldId="2282"/>
            <ac:cxnSpMk id="41" creationId="{ACB7FC48-69DF-4513-A73C-E0C0913D1B78}"/>
          </ac:cxnSpMkLst>
        </pc:cxnChg>
        <pc:cxnChg chg="add mod">
          <ac:chgData name="Tambe Tabitha" userId="f83f624f-03d5-4386-8962-054036e70eac" providerId="ADAL" clId="{B26D3400-A556-4BFF-8353-60153E43E2D2}" dt="2022-03-03T16:22:58.397" v="1986" actId="14100"/>
          <ac:cxnSpMkLst>
            <pc:docMk/>
            <pc:sldMk cId="461282927" sldId="2282"/>
            <ac:cxnSpMk id="55" creationId="{E3D55FBF-473E-4279-B394-76CBCFCC416C}"/>
          </ac:cxnSpMkLst>
        </pc:cxnChg>
      </pc:sldChg>
      <pc:sldChg chg="modSp del mod">
        <pc:chgData name="Tambe Tabitha" userId="f83f624f-03d5-4386-8962-054036e70eac" providerId="ADAL" clId="{B26D3400-A556-4BFF-8353-60153E43E2D2}" dt="2022-03-03T10:14:55.158" v="723" actId="2696"/>
        <pc:sldMkLst>
          <pc:docMk/>
          <pc:sldMk cId="4136977975" sldId="2283"/>
        </pc:sldMkLst>
        <pc:spChg chg="mod">
          <ac:chgData name="Tambe Tabitha" userId="f83f624f-03d5-4386-8962-054036e70eac" providerId="ADAL" clId="{B26D3400-A556-4BFF-8353-60153E43E2D2}" dt="2022-03-03T10:14:50.399" v="722" actId="21"/>
          <ac:spMkLst>
            <pc:docMk/>
            <pc:sldMk cId="4136977975" sldId="2283"/>
            <ac:spMk id="2" creationId="{C866C82E-7AE4-4BD5-A34D-2D64A00BA789}"/>
          </ac:spMkLst>
        </pc:spChg>
      </pc:sldChg>
      <pc:sldChg chg="addSp modSp mod">
        <pc:chgData name="Tambe Tabitha" userId="f83f624f-03d5-4386-8962-054036e70eac" providerId="ADAL" clId="{B26D3400-A556-4BFF-8353-60153E43E2D2}" dt="2022-03-03T10:18:30.820" v="876" actId="207"/>
        <pc:sldMkLst>
          <pc:docMk/>
          <pc:sldMk cId="1509903865" sldId="2284"/>
        </pc:sldMkLst>
        <pc:spChg chg="add mod">
          <ac:chgData name="Tambe Tabitha" userId="f83f624f-03d5-4386-8962-054036e70eac" providerId="ADAL" clId="{B26D3400-A556-4BFF-8353-60153E43E2D2}" dt="2022-03-03T10:18:30.820" v="876" actId="207"/>
          <ac:spMkLst>
            <pc:docMk/>
            <pc:sldMk cId="1509903865" sldId="2284"/>
            <ac:spMk id="4" creationId="{4F03C0A7-75F5-448D-A32B-241A687F01E1}"/>
          </ac:spMkLst>
        </pc:spChg>
      </pc:sldChg>
      <pc:sldChg chg="modSp add del mod">
        <pc:chgData name="Tambe Tabitha" userId="f83f624f-03d5-4386-8962-054036e70eac" providerId="ADAL" clId="{B26D3400-A556-4BFF-8353-60153E43E2D2}" dt="2022-03-03T16:26:59.074" v="2001" actId="47"/>
        <pc:sldMkLst>
          <pc:docMk/>
          <pc:sldMk cId="1959466950" sldId="2285"/>
        </pc:sldMkLst>
        <pc:spChg chg="mod">
          <ac:chgData name="Tambe Tabitha" userId="f83f624f-03d5-4386-8962-054036e70eac" providerId="ADAL" clId="{B26D3400-A556-4BFF-8353-60153E43E2D2}" dt="2022-03-03T10:14:59.027" v="724"/>
          <ac:spMkLst>
            <pc:docMk/>
            <pc:sldMk cId="1959466950" sldId="2285"/>
            <ac:spMk id="2" creationId="{C866C82E-7AE4-4BD5-A34D-2D64A00BA789}"/>
          </ac:spMkLst>
        </pc:spChg>
      </pc:sldChg>
      <pc:sldChg chg="addSp delSp modSp new mod ord">
        <pc:chgData name="Tambe Tabitha" userId="f83f624f-03d5-4386-8962-054036e70eac" providerId="ADAL" clId="{B26D3400-A556-4BFF-8353-60153E43E2D2}" dt="2022-03-03T16:40:51.775" v="2287" actId="255"/>
        <pc:sldMkLst>
          <pc:docMk/>
          <pc:sldMk cId="1780421382" sldId="2286"/>
        </pc:sldMkLst>
        <pc:spChg chg="del">
          <ac:chgData name="Tambe Tabitha" userId="f83f624f-03d5-4386-8962-054036e70eac" providerId="ADAL" clId="{B26D3400-A556-4BFF-8353-60153E43E2D2}" dt="2022-03-03T16:30:51.570" v="2086" actId="478"/>
          <ac:spMkLst>
            <pc:docMk/>
            <pc:sldMk cId="1780421382" sldId="2286"/>
            <ac:spMk id="2" creationId="{DDAD1D73-B735-4799-87BE-4285A184FF86}"/>
          </ac:spMkLst>
        </pc:spChg>
        <pc:spChg chg="del">
          <ac:chgData name="Tambe Tabitha" userId="f83f624f-03d5-4386-8962-054036e70eac" providerId="ADAL" clId="{B26D3400-A556-4BFF-8353-60153E43E2D2}" dt="2022-03-03T16:30:48.293" v="2085" actId="478"/>
          <ac:spMkLst>
            <pc:docMk/>
            <pc:sldMk cId="1780421382" sldId="2286"/>
            <ac:spMk id="4" creationId="{B1DEB9B8-9271-4951-9A68-3D2105BDB04C}"/>
          </ac:spMkLst>
        </pc:spChg>
        <pc:spChg chg="mod">
          <ac:chgData name="Tambe Tabitha" userId="f83f624f-03d5-4386-8962-054036e70eac" providerId="ADAL" clId="{B26D3400-A556-4BFF-8353-60153E43E2D2}" dt="2022-03-03T16:31:44.397" v="2112" actId="20577"/>
          <ac:spMkLst>
            <pc:docMk/>
            <pc:sldMk cId="1780421382" sldId="2286"/>
            <ac:spMk id="6" creationId="{474B325D-F1E5-44AA-B515-1098A0FA0D67}"/>
          </ac:spMkLst>
        </pc:spChg>
        <pc:spChg chg="mod">
          <ac:chgData name="Tambe Tabitha" userId="f83f624f-03d5-4386-8962-054036e70eac" providerId="ADAL" clId="{B26D3400-A556-4BFF-8353-60153E43E2D2}" dt="2022-03-03T16:32:06.544" v="2150" actId="20577"/>
          <ac:spMkLst>
            <pc:docMk/>
            <pc:sldMk cId="1780421382" sldId="2286"/>
            <ac:spMk id="7" creationId="{43E47352-BC9F-4305-826B-BCD50005759B}"/>
          </ac:spMkLst>
        </pc:spChg>
        <pc:spChg chg="mod">
          <ac:chgData name="Tambe Tabitha" userId="f83f624f-03d5-4386-8962-054036e70eac" providerId="ADAL" clId="{B26D3400-A556-4BFF-8353-60153E43E2D2}" dt="2022-03-03T16:31:53.231" v="2132" actId="20577"/>
          <ac:spMkLst>
            <pc:docMk/>
            <pc:sldMk cId="1780421382" sldId="2286"/>
            <ac:spMk id="9" creationId="{07EFB657-1D9A-46CE-83FB-D6D2B17AB987}"/>
          </ac:spMkLst>
        </pc:spChg>
        <pc:spChg chg="mod">
          <ac:chgData name="Tambe Tabitha" userId="f83f624f-03d5-4386-8962-054036e70eac" providerId="ADAL" clId="{B26D3400-A556-4BFF-8353-60153E43E2D2}" dt="2022-03-03T16:31:58.984" v="2138" actId="20577"/>
          <ac:spMkLst>
            <pc:docMk/>
            <pc:sldMk cId="1780421382" sldId="2286"/>
            <ac:spMk id="10" creationId="{C6637FB5-FD1F-456A-BA8D-B8AE92EDE527}"/>
          </ac:spMkLst>
        </pc:spChg>
        <pc:spChg chg="mod topLvl">
          <ac:chgData name="Tambe Tabitha" userId="f83f624f-03d5-4386-8962-054036e70eac" providerId="ADAL" clId="{B26D3400-A556-4BFF-8353-60153E43E2D2}" dt="2022-03-03T16:39:48.130" v="2265" actId="693"/>
          <ac:spMkLst>
            <pc:docMk/>
            <pc:sldMk cId="1780421382" sldId="2286"/>
            <ac:spMk id="12" creationId="{D39E1A72-DFF9-4009-8185-3EDDBBE93DEC}"/>
          </ac:spMkLst>
        </pc:spChg>
        <pc:spChg chg="mod topLvl">
          <ac:chgData name="Tambe Tabitha" userId="f83f624f-03d5-4386-8962-054036e70eac" providerId="ADAL" clId="{B26D3400-A556-4BFF-8353-60153E43E2D2}" dt="2022-03-03T16:36:56.599" v="2204" actId="14100"/>
          <ac:spMkLst>
            <pc:docMk/>
            <pc:sldMk cId="1780421382" sldId="2286"/>
            <ac:spMk id="13" creationId="{DC949D83-F4DA-4E95-B615-4BC3C9E2FBB0}"/>
          </ac:spMkLst>
        </pc:spChg>
        <pc:spChg chg="add mod">
          <ac:chgData name="Tambe Tabitha" userId="f83f624f-03d5-4386-8962-054036e70eac" providerId="ADAL" clId="{B26D3400-A556-4BFF-8353-60153E43E2D2}" dt="2022-03-03T16:35:18.478" v="2169" actId="20577"/>
          <ac:spMkLst>
            <pc:docMk/>
            <pc:sldMk cId="1780421382" sldId="2286"/>
            <ac:spMk id="19" creationId="{320DDE05-4A00-4E12-B59D-D9FE782D91C0}"/>
          </ac:spMkLst>
        </pc:spChg>
        <pc:spChg chg="add mod">
          <ac:chgData name="Tambe Tabitha" userId="f83f624f-03d5-4386-8962-054036e70eac" providerId="ADAL" clId="{B26D3400-A556-4BFF-8353-60153E43E2D2}" dt="2022-03-03T16:37:36.475" v="2236" actId="20577"/>
          <ac:spMkLst>
            <pc:docMk/>
            <pc:sldMk cId="1780421382" sldId="2286"/>
            <ac:spMk id="21" creationId="{BB755ADA-5FD8-4292-B623-C99BF0686324}"/>
          </ac:spMkLst>
        </pc:spChg>
        <pc:spChg chg="add mod">
          <ac:chgData name="Tambe Tabitha" userId="f83f624f-03d5-4386-8962-054036e70eac" providerId="ADAL" clId="{B26D3400-A556-4BFF-8353-60153E43E2D2}" dt="2022-03-03T16:38:57.372" v="2264" actId="1076"/>
          <ac:spMkLst>
            <pc:docMk/>
            <pc:sldMk cId="1780421382" sldId="2286"/>
            <ac:spMk id="24" creationId="{33D66F81-CCE3-4342-A8D9-8F5077BAED09}"/>
          </ac:spMkLst>
        </pc:spChg>
        <pc:spChg chg="add del mod">
          <ac:chgData name="Tambe Tabitha" userId="f83f624f-03d5-4386-8962-054036e70eac" providerId="ADAL" clId="{B26D3400-A556-4BFF-8353-60153E43E2D2}" dt="2022-03-03T16:40:06.472" v="2270"/>
          <ac:spMkLst>
            <pc:docMk/>
            <pc:sldMk cId="1780421382" sldId="2286"/>
            <ac:spMk id="25" creationId="{280892CB-2986-4EE8-AC4C-43ACDBA24DAE}"/>
          </ac:spMkLst>
        </pc:spChg>
        <pc:spChg chg="add mod">
          <ac:chgData name="Tambe Tabitha" userId="f83f624f-03d5-4386-8962-054036e70eac" providerId="ADAL" clId="{B26D3400-A556-4BFF-8353-60153E43E2D2}" dt="2022-03-03T16:40:51.775" v="2287" actId="255"/>
          <ac:spMkLst>
            <pc:docMk/>
            <pc:sldMk cId="1780421382" sldId="2286"/>
            <ac:spMk id="26" creationId="{290E0FB4-3A6C-4DED-99A8-B3A92E97C086}"/>
          </ac:spMkLst>
        </pc:spChg>
        <pc:grpChg chg="add mod">
          <ac:chgData name="Tambe Tabitha" userId="f83f624f-03d5-4386-8962-054036e70eac" providerId="ADAL" clId="{B26D3400-A556-4BFF-8353-60153E43E2D2}" dt="2022-03-03T16:31:23.275" v="2090" actId="1076"/>
          <ac:grpSpMkLst>
            <pc:docMk/>
            <pc:sldMk cId="1780421382" sldId="2286"/>
            <ac:grpSpMk id="5" creationId="{4AC333BA-A072-42C0-84A9-2A42BB81A595}"/>
          </ac:grpSpMkLst>
        </pc:grpChg>
        <pc:grpChg chg="add mod">
          <ac:chgData name="Tambe Tabitha" userId="f83f624f-03d5-4386-8962-054036e70eac" providerId="ADAL" clId="{B26D3400-A556-4BFF-8353-60153E43E2D2}" dt="2022-03-03T16:32:32.497" v="2151" actId="1076"/>
          <ac:grpSpMkLst>
            <pc:docMk/>
            <pc:sldMk cId="1780421382" sldId="2286"/>
            <ac:grpSpMk id="8" creationId="{935F55FE-6351-4905-82FC-CA01C42685EE}"/>
          </ac:grpSpMkLst>
        </pc:grpChg>
        <pc:grpChg chg="add del mod">
          <ac:chgData name="Tambe Tabitha" userId="f83f624f-03d5-4386-8962-054036e70eac" providerId="ADAL" clId="{B26D3400-A556-4BFF-8353-60153E43E2D2}" dt="2022-03-03T16:35:46.551" v="2170" actId="165"/>
          <ac:grpSpMkLst>
            <pc:docMk/>
            <pc:sldMk cId="1780421382" sldId="2286"/>
            <ac:grpSpMk id="11" creationId="{184AE1FF-F088-4620-A163-DFDEB0B61992}"/>
          </ac:grpSpMkLst>
        </pc:grpChg>
        <pc:cxnChg chg="add">
          <ac:chgData name="Tambe Tabitha" userId="f83f624f-03d5-4386-8962-054036e70eac" providerId="ADAL" clId="{B26D3400-A556-4BFF-8353-60153E43E2D2}" dt="2022-03-03T16:33:20.940" v="2154" actId="11529"/>
          <ac:cxnSpMkLst>
            <pc:docMk/>
            <pc:sldMk cId="1780421382" sldId="2286"/>
            <ac:cxnSpMk id="15" creationId="{32C50AB6-96D3-403C-949D-7FF81B366FBD}"/>
          </ac:cxnSpMkLst>
        </pc:cxnChg>
        <pc:cxnChg chg="add del mod">
          <ac:chgData name="Tambe Tabitha" userId="f83f624f-03d5-4386-8962-054036e70eac" providerId="ADAL" clId="{B26D3400-A556-4BFF-8353-60153E43E2D2}" dt="2022-03-03T16:33:48.533" v="2156" actId="478"/>
          <ac:cxnSpMkLst>
            <pc:docMk/>
            <pc:sldMk cId="1780421382" sldId="2286"/>
            <ac:cxnSpMk id="16" creationId="{4CA8744D-E3A0-4E4E-96AC-443D7286FEB4}"/>
          </ac:cxnSpMkLst>
        </pc:cxnChg>
        <pc:cxnChg chg="add">
          <ac:chgData name="Tambe Tabitha" userId="f83f624f-03d5-4386-8962-054036e70eac" providerId="ADAL" clId="{B26D3400-A556-4BFF-8353-60153E43E2D2}" dt="2022-03-03T16:34:01.448" v="2157" actId="11529"/>
          <ac:cxnSpMkLst>
            <pc:docMk/>
            <pc:sldMk cId="1780421382" sldId="2286"/>
            <ac:cxnSpMk id="18" creationId="{41F8F595-D5DC-4CCA-82BA-6A923E9DA566}"/>
          </ac:cxnSpMkLst>
        </pc:cxnChg>
        <pc:cxnChg chg="add del mod">
          <ac:chgData name="Tambe Tabitha" userId="f83f624f-03d5-4386-8962-054036e70eac" providerId="ADAL" clId="{B26D3400-A556-4BFF-8353-60153E43E2D2}" dt="2022-03-03T16:36:47.012" v="2203" actId="478"/>
          <ac:cxnSpMkLst>
            <pc:docMk/>
            <pc:sldMk cId="1780421382" sldId="2286"/>
            <ac:cxnSpMk id="20" creationId="{44B7DC9C-8865-44F9-A7D6-174C7D2A9EE7}"/>
          </ac:cxnSpMkLst>
        </pc:cxnChg>
        <pc:cxnChg chg="add">
          <ac:chgData name="Tambe Tabitha" userId="f83f624f-03d5-4386-8962-054036e70eac" providerId="ADAL" clId="{B26D3400-A556-4BFF-8353-60153E43E2D2}" dt="2022-03-03T16:38:01.577" v="2237" actId="11529"/>
          <ac:cxnSpMkLst>
            <pc:docMk/>
            <pc:sldMk cId="1780421382" sldId="2286"/>
            <ac:cxnSpMk id="23" creationId="{084DA9C1-8AC3-4F2B-B867-AC7F156789DB}"/>
          </ac:cxnSpMkLst>
        </pc:cxnChg>
      </pc:sldChg>
      <pc:sldChg chg="delSp modSp new mod ord">
        <pc:chgData name="Tambe Tabitha" userId="f83f624f-03d5-4386-8962-054036e70eac" providerId="ADAL" clId="{B26D3400-A556-4BFF-8353-60153E43E2D2}" dt="2022-03-03T12:48:43.403" v="1361" actId="478"/>
        <pc:sldMkLst>
          <pc:docMk/>
          <pc:sldMk cId="875505952" sldId="2287"/>
        </pc:sldMkLst>
        <pc:spChg chg="mod">
          <ac:chgData name="Tambe Tabitha" userId="f83f624f-03d5-4386-8962-054036e70eac" providerId="ADAL" clId="{B26D3400-A556-4BFF-8353-60153E43E2D2}" dt="2022-03-03T12:47:28.587" v="1274" actId="20577"/>
          <ac:spMkLst>
            <pc:docMk/>
            <pc:sldMk cId="875505952" sldId="2287"/>
            <ac:spMk id="2" creationId="{6E2ED46A-A92E-4CA9-BE55-8F168E30A7EC}"/>
          </ac:spMkLst>
        </pc:spChg>
        <pc:spChg chg="mod">
          <ac:chgData name="Tambe Tabitha" userId="f83f624f-03d5-4386-8962-054036e70eac" providerId="ADAL" clId="{B26D3400-A556-4BFF-8353-60153E43E2D2}" dt="2022-03-03T12:47:58.458" v="1307" actId="20577"/>
          <ac:spMkLst>
            <pc:docMk/>
            <pc:sldMk cId="875505952" sldId="2287"/>
            <ac:spMk id="3" creationId="{F4D07B85-8846-4AFA-8739-78848DF53D13}"/>
          </ac:spMkLst>
        </pc:spChg>
        <pc:spChg chg="mod">
          <ac:chgData name="Tambe Tabitha" userId="f83f624f-03d5-4386-8962-054036e70eac" providerId="ADAL" clId="{B26D3400-A556-4BFF-8353-60153E43E2D2}" dt="2022-03-03T12:48:23.141" v="1357" actId="20577"/>
          <ac:spMkLst>
            <pc:docMk/>
            <pc:sldMk cId="875505952" sldId="2287"/>
            <ac:spMk id="4" creationId="{E59459AA-4CCA-4C87-AD74-E3BB5F0D6876}"/>
          </ac:spMkLst>
        </pc:spChg>
        <pc:spChg chg="mod">
          <ac:chgData name="Tambe Tabitha" userId="f83f624f-03d5-4386-8962-054036e70eac" providerId="ADAL" clId="{B26D3400-A556-4BFF-8353-60153E43E2D2}" dt="2022-03-03T12:47:47.729" v="1287" actId="20577"/>
          <ac:spMkLst>
            <pc:docMk/>
            <pc:sldMk cId="875505952" sldId="2287"/>
            <ac:spMk id="6" creationId="{1BC3C803-6F4C-43D5-845A-E8807731EBF5}"/>
          </ac:spMkLst>
        </pc:spChg>
        <pc:spChg chg="del">
          <ac:chgData name="Tambe Tabitha" userId="f83f624f-03d5-4386-8962-054036e70eac" providerId="ADAL" clId="{B26D3400-A556-4BFF-8353-60153E43E2D2}" dt="2022-03-03T12:48:36.228" v="1359" actId="478"/>
          <ac:spMkLst>
            <pc:docMk/>
            <pc:sldMk cId="875505952" sldId="2287"/>
            <ac:spMk id="7" creationId="{7E3A8FC8-39F2-4E6C-BAD3-100A7A5AEAC7}"/>
          </ac:spMkLst>
        </pc:spChg>
        <pc:spChg chg="del">
          <ac:chgData name="Tambe Tabitha" userId="f83f624f-03d5-4386-8962-054036e70eac" providerId="ADAL" clId="{B26D3400-A556-4BFF-8353-60153E43E2D2}" dt="2022-03-03T12:48:39.076" v="1360" actId="478"/>
          <ac:spMkLst>
            <pc:docMk/>
            <pc:sldMk cId="875505952" sldId="2287"/>
            <ac:spMk id="8" creationId="{8A5EEEA8-CC24-4B39-B7C7-03119794C427}"/>
          </ac:spMkLst>
        </pc:spChg>
        <pc:spChg chg="del">
          <ac:chgData name="Tambe Tabitha" userId="f83f624f-03d5-4386-8962-054036e70eac" providerId="ADAL" clId="{B26D3400-A556-4BFF-8353-60153E43E2D2}" dt="2022-03-03T12:48:43.403" v="1361" actId="478"/>
          <ac:spMkLst>
            <pc:docMk/>
            <pc:sldMk cId="875505952" sldId="2287"/>
            <ac:spMk id="9" creationId="{79B00391-40EA-47DB-8556-36CFBE6E2504}"/>
          </ac:spMkLst>
        </pc:spChg>
        <pc:spChg chg="del">
          <ac:chgData name="Tambe Tabitha" userId="f83f624f-03d5-4386-8962-054036e70eac" providerId="ADAL" clId="{B26D3400-A556-4BFF-8353-60153E43E2D2}" dt="2022-03-03T12:48:28.086" v="1358" actId="478"/>
          <ac:spMkLst>
            <pc:docMk/>
            <pc:sldMk cId="875505952" sldId="2287"/>
            <ac:spMk id="10" creationId="{5C3133E3-E06D-4213-8F4F-786DF3356F98}"/>
          </ac:spMkLst>
        </pc:spChg>
      </pc:sldChg>
      <pc:sldChg chg="new del">
        <pc:chgData name="Tambe Tabitha" userId="f83f624f-03d5-4386-8962-054036e70eac" providerId="ADAL" clId="{B26D3400-A556-4BFF-8353-60153E43E2D2}" dt="2022-03-03T12:45:10.503" v="1151" actId="2696"/>
        <pc:sldMkLst>
          <pc:docMk/>
          <pc:sldMk cId="3166721407" sldId="2287"/>
        </pc:sldMkLst>
      </pc:sldChg>
      <pc:sldChg chg="modSp new mod ord">
        <pc:chgData name="Tambe Tabitha" userId="f83f624f-03d5-4386-8962-054036e70eac" providerId="ADAL" clId="{B26D3400-A556-4BFF-8353-60153E43E2D2}" dt="2022-03-03T12:47:00.779" v="1217" actId="20577"/>
        <pc:sldMkLst>
          <pc:docMk/>
          <pc:sldMk cId="749975097" sldId="2288"/>
        </pc:sldMkLst>
        <pc:spChg chg="mod">
          <ac:chgData name="Tambe Tabitha" userId="f83f624f-03d5-4386-8962-054036e70eac" providerId="ADAL" clId="{B26D3400-A556-4BFF-8353-60153E43E2D2}" dt="2022-03-03T12:47:00.779" v="1217" actId="20577"/>
          <ac:spMkLst>
            <pc:docMk/>
            <pc:sldMk cId="749975097" sldId="2288"/>
            <ac:spMk id="2" creationId="{E730F99F-0973-4CAE-A2E0-9988FF718D7E}"/>
          </ac:spMkLst>
        </pc:spChg>
      </pc:sldChg>
      <pc:sldChg chg="add">
        <pc:chgData name="Tambe Tabitha" userId="f83f624f-03d5-4386-8962-054036e70eac" providerId="ADAL" clId="{B26D3400-A556-4BFF-8353-60153E43E2D2}" dt="2022-03-03T12:46:41.629" v="1196" actId="2890"/>
        <pc:sldMkLst>
          <pc:docMk/>
          <pc:sldMk cId="3950922366" sldId="2289"/>
        </pc:sldMkLst>
      </pc:sldChg>
      <pc:sldChg chg="modSp add mod">
        <pc:chgData name="Tambe Tabitha" userId="f83f624f-03d5-4386-8962-054036e70eac" providerId="ADAL" clId="{B26D3400-A556-4BFF-8353-60153E43E2D2}" dt="2022-03-03T16:41:52.462" v="2312" actId="20577"/>
        <pc:sldMkLst>
          <pc:docMk/>
          <pc:sldMk cId="2255436865" sldId="2290"/>
        </pc:sldMkLst>
        <pc:spChg chg="mod">
          <ac:chgData name="Tambe Tabitha" userId="f83f624f-03d5-4386-8962-054036e70eac" providerId="ADAL" clId="{B26D3400-A556-4BFF-8353-60153E43E2D2}" dt="2022-03-03T16:41:52.462" v="2312" actId="20577"/>
          <ac:spMkLst>
            <pc:docMk/>
            <pc:sldMk cId="2255436865" sldId="2290"/>
            <ac:spMk id="2" creationId="{C866C82E-7AE4-4BD5-A34D-2D64A00BA789}"/>
          </ac:spMkLst>
        </pc:spChg>
        <pc:spChg chg="mod">
          <ac:chgData name="Tambe Tabitha" userId="f83f624f-03d5-4386-8962-054036e70eac" providerId="ADAL" clId="{B26D3400-A556-4BFF-8353-60153E43E2D2}" dt="2022-03-03T16:29:26.874" v="2084" actId="20577"/>
          <ac:spMkLst>
            <pc:docMk/>
            <pc:sldMk cId="2255436865" sldId="2290"/>
            <ac:spMk id="32" creationId="{11E2AB75-578B-480A-B0E9-126D14491DDE}"/>
          </ac:spMkLst>
        </pc:spChg>
        <pc:spChg chg="mod">
          <ac:chgData name="Tambe Tabitha" userId="f83f624f-03d5-4386-8962-054036e70eac" providerId="ADAL" clId="{B26D3400-A556-4BFF-8353-60153E43E2D2}" dt="2022-03-03T16:28:59.417" v="2075" actId="20577"/>
          <ac:spMkLst>
            <pc:docMk/>
            <pc:sldMk cId="2255436865" sldId="2290"/>
            <ac:spMk id="65" creationId="{EDF44A71-EA9D-4920-AB2C-30258199DD92}"/>
          </ac:spMkLst>
        </pc:spChg>
      </pc:sldChg>
      <pc:sldChg chg="modSp add mod ord">
        <pc:chgData name="Tambe Tabitha" userId="f83f624f-03d5-4386-8962-054036e70eac" providerId="ADAL" clId="{B26D3400-A556-4BFF-8353-60153E43E2D2}" dt="2022-03-03T16:27:38.253" v="2064" actId="20577"/>
        <pc:sldMkLst>
          <pc:docMk/>
          <pc:sldMk cId="1288540311" sldId="2291"/>
        </pc:sldMkLst>
        <pc:spChg chg="mod">
          <ac:chgData name="Tambe Tabitha" userId="f83f624f-03d5-4386-8962-054036e70eac" providerId="ADAL" clId="{B26D3400-A556-4BFF-8353-60153E43E2D2}" dt="2022-03-03T16:27:38.253" v="2064" actId="20577"/>
          <ac:spMkLst>
            <pc:docMk/>
            <pc:sldMk cId="1288540311" sldId="2291"/>
            <ac:spMk id="2" creationId="{E730F99F-0973-4CAE-A2E0-9988FF718D7E}"/>
          </ac:spMkLst>
        </pc:spChg>
      </pc:sldChg>
    </pc:docChg>
  </pc:docChgLst>
  <pc:docChgLst>
    <pc:chgData name="Tambe Tabitha" userId="f83f624f-03d5-4386-8962-054036e70eac" providerId="ADAL" clId="{ABE820A3-266B-464E-83AE-FE9960642F6C}"/>
    <pc:docChg chg="custSel modSld">
      <pc:chgData name="Tambe Tabitha" userId="f83f624f-03d5-4386-8962-054036e70eac" providerId="ADAL" clId="{ABE820A3-266B-464E-83AE-FE9960642F6C}" dt="2022-08-25T14:04:01.185" v="33" actId="255"/>
      <pc:docMkLst>
        <pc:docMk/>
      </pc:docMkLst>
      <pc:sldChg chg="addSp delSp modSp mod">
        <pc:chgData name="Tambe Tabitha" userId="f83f624f-03d5-4386-8962-054036e70eac" providerId="ADAL" clId="{ABE820A3-266B-464E-83AE-FE9960642F6C}" dt="2022-08-25T14:04:01.185" v="33" actId="255"/>
        <pc:sldMkLst>
          <pc:docMk/>
          <pc:sldMk cId="2255436865" sldId="2290"/>
        </pc:sldMkLst>
        <pc:spChg chg="add mod">
          <ac:chgData name="Tambe Tabitha" userId="f83f624f-03d5-4386-8962-054036e70eac" providerId="ADAL" clId="{ABE820A3-266B-464E-83AE-FE9960642F6C}" dt="2022-08-25T14:04:01.185" v="33" actId="255"/>
          <ac:spMkLst>
            <pc:docMk/>
            <pc:sldMk cId="2255436865" sldId="2290"/>
            <ac:spMk id="5" creationId="{11ADCA08-CCF5-FAD6-A7BC-4FC2903A1BC5}"/>
          </ac:spMkLst>
        </pc:spChg>
        <pc:spChg chg="add del mod">
          <ac:chgData name="Tambe Tabitha" userId="f83f624f-03d5-4386-8962-054036e70eac" providerId="ADAL" clId="{ABE820A3-266B-464E-83AE-FE9960642F6C}" dt="2022-08-25T14:01:48.306" v="30" actId="478"/>
          <ac:spMkLst>
            <pc:docMk/>
            <pc:sldMk cId="2255436865" sldId="2290"/>
            <ac:spMk id="6" creationId="{081C506F-AFC7-B561-D88E-100665305D4D}"/>
          </ac:spMkLst>
        </pc:spChg>
      </pc:sldChg>
    </pc:docChg>
  </pc:docChgLst>
  <pc:docChgLst>
    <pc:chgData name="Tambe Tabitha" userId="S::tambe.tabitha@socialfinance.org.uk::f83f624f-03d5-4386-8962-054036e70eac" providerId="AD" clId="Web-{0694E8E7-D229-8026-1665-87807E07F019}"/>
    <pc:docChg chg="modSld">
      <pc:chgData name="Tambe Tabitha" userId="S::tambe.tabitha@socialfinance.org.uk::f83f624f-03d5-4386-8962-054036e70eac" providerId="AD" clId="Web-{0694E8E7-D229-8026-1665-87807E07F019}" dt="2022-02-28T16:26:30.206" v="1" actId="20577"/>
      <pc:docMkLst>
        <pc:docMk/>
      </pc:docMkLst>
      <pc:sldChg chg="modSp">
        <pc:chgData name="Tambe Tabitha" userId="S::tambe.tabitha@socialfinance.org.uk::f83f624f-03d5-4386-8962-054036e70eac" providerId="AD" clId="Web-{0694E8E7-D229-8026-1665-87807E07F019}" dt="2022-02-28T16:26:30.206" v="1" actId="20577"/>
        <pc:sldMkLst>
          <pc:docMk/>
          <pc:sldMk cId="3551227195" sldId="2281"/>
        </pc:sldMkLst>
        <pc:spChg chg="mod">
          <ac:chgData name="Tambe Tabitha" userId="S::tambe.tabitha@socialfinance.org.uk::f83f624f-03d5-4386-8962-054036e70eac" providerId="AD" clId="Web-{0694E8E7-D229-8026-1665-87807E07F019}" dt="2022-02-28T16:26:30.206" v="1" actId="20577"/>
          <ac:spMkLst>
            <pc:docMk/>
            <pc:sldMk cId="3551227195" sldId="2281"/>
            <ac:spMk id="13" creationId="{CBABE523-151B-4BAB-9F5C-F8E08CEFF5EC}"/>
          </ac:spMkLst>
        </pc:spChg>
      </pc:sldChg>
    </pc:docChg>
  </pc:docChgLst>
  <pc:docChgLst>
    <pc:chgData name="Tambe Tabitha" userId="S::tambe.tabitha@socialfinance.org.uk::f83f624f-03d5-4386-8962-054036e70eac" providerId="AD" clId="Web-{5CF7AAD8-7A36-EEB1-E06B-37499E5741DB}"/>
    <pc:docChg chg="modSld">
      <pc:chgData name="Tambe Tabitha" userId="S::tambe.tabitha@socialfinance.org.uk::f83f624f-03d5-4386-8962-054036e70eac" providerId="AD" clId="Web-{5CF7AAD8-7A36-EEB1-E06B-37499E5741DB}" dt="2022-08-25T13:54:57.961" v="34" actId="14100"/>
      <pc:docMkLst>
        <pc:docMk/>
      </pc:docMkLst>
      <pc:sldChg chg="addSp modSp">
        <pc:chgData name="Tambe Tabitha" userId="S::tambe.tabitha@socialfinance.org.uk::f83f624f-03d5-4386-8962-054036e70eac" providerId="AD" clId="Web-{5CF7AAD8-7A36-EEB1-E06B-37499E5741DB}" dt="2022-08-25T13:53:47.256" v="30" actId="20577"/>
        <pc:sldMkLst>
          <pc:docMk/>
          <pc:sldMk cId="875505952" sldId="2287"/>
        </pc:sldMkLst>
        <pc:spChg chg="add mod">
          <ac:chgData name="Tambe Tabitha" userId="S::tambe.tabitha@socialfinance.org.uk::f83f624f-03d5-4386-8962-054036e70eac" providerId="AD" clId="Web-{5CF7AAD8-7A36-EEB1-E06B-37499E5741DB}" dt="2022-08-25T13:53:34.552" v="26" actId="20577"/>
          <ac:spMkLst>
            <pc:docMk/>
            <pc:sldMk cId="875505952" sldId="2287"/>
            <ac:spMk id="8" creationId="{240A101E-E704-C6D5-6F26-8E45C689B19F}"/>
          </ac:spMkLst>
        </pc:spChg>
        <pc:spChg chg="add mod">
          <ac:chgData name="Tambe Tabitha" userId="S::tambe.tabitha@socialfinance.org.uk::f83f624f-03d5-4386-8962-054036e70eac" providerId="AD" clId="Web-{5CF7AAD8-7A36-EEB1-E06B-37499E5741DB}" dt="2022-08-25T13:53:47.256" v="30" actId="20577"/>
          <ac:spMkLst>
            <pc:docMk/>
            <pc:sldMk cId="875505952" sldId="2287"/>
            <ac:spMk id="10" creationId="{EC729F3F-AA57-B63B-A1C3-1A07212B939F}"/>
          </ac:spMkLst>
        </pc:spChg>
      </pc:sldChg>
      <pc:sldChg chg="modSp">
        <pc:chgData name="Tambe Tabitha" userId="S::tambe.tabitha@socialfinance.org.uk::f83f624f-03d5-4386-8962-054036e70eac" providerId="AD" clId="Web-{5CF7AAD8-7A36-EEB1-E06B-37499E5741DB}" dt="2022-08-25T13:54:57.961" v="34" actId="14100"/>
        <pc:sldMkLst>
          <pc:docMk/>
          <pc:sldMk cId="2255436865" sldId="2290"/>
        </pc:sldMkLst>
        <pc:spChg chg="mod">
          <ac:chgData name="Tambe Tabitha" userId="S::tambe.tabitha@socialfinance.org.uk::f83f624f-03d5-4386-8962-054036e70eac" providerId="AD" clId="Web-{5CF7AAD8-7A36-EEB1-E06B-37499E5741DB}" dt="2022-08-25T13:54:57.961" v="34" actId="14100"/>
          <ac:spMkLst>
            <pc:docMk/>
            <pc:sldMk cId="2255436865" sldId="2290"/>
            <ac:spMk id="66" creationId="{4E36B888-8337-4D23-82AF-B8E84FDB3EE0}"/>
          </ac:spMkLst>
        </pc:spChg>
      </pc:sldChg>
    </pc:docChg>
  </pc:docChgLst>
  <pc:docChgLst>
    <pc:chgData name="Michael Ogunkolade" userId="S::michael.ogunkolade@socialfinance.org.uk::9d63e759-fd89-4e67-af23-77aad857a8cd" providerId="AD" clId="Web-{587840B4-840D-CAFB-D4BA-EA1C80304F91}"/>
    <pc:docChg chg="modSld">
      <pc:chgData name="Michael Ogunkolade" userId="S::michael.ogunkolade@socialfinance.org.uk::9d63e759-fd89-4e67-af23-77aad857a8cd" providerId="AD" clId="Web-{587840B4-840D-CAFB-D4BA-EA1C80304F91}" dt="2022-03-04T10:44:25.087" v="9" actId="20577"/>
      <pc:docMkLst>
        <pc:docMk/>
      </pc:docMkLst>
      <pc:sldChg chg="modSp">
        <pc:chgData name="Michael Ogunkolade" userId="S::michael.ogunkolade@socialfinance.org.uk::9d63e759-fd89-4e67-af23-77aad857a8cd" providerId="AD" clId="Web-{587840B4-840D-CAFB-D4BA-EA1C80304F91}" dt="2022-03-04T10:44:25.087" v="9" actId="20577"/>
        <pc:sldMkLst>
          <pc:docMk/>
          <pc:sldMk cId="2255436865" sldId="2290"/>
        </pc:sldMkLst>
        <pc:spChg chg="mod">
          <ac:chgData name="Michael Ogunkolade" userId="S::michael.ogunkolade@socialfinance.org.uk::9d63e759-fd89-4e67-af23-77aad857a8cd" providerId="AD" clId="Web-{587840B4-840D-CAFB-D4BA-EA1C80304F91}" dt="2022-03-04T10:44:25.087" v="9" actId="20577"/>
          <ac:spMkLst>
            <pc:docMk/>
            <pc:sldMk cId="2255436865" sldId="2290"/>
            <ac:spMk id="64" creationId="{C7FC1D73-5CA8-4DED-924C-CFD6C76F5CE8}"/>
          </ac:spMkLst>
        </pc:spChg>
      </pc:sldChg>
    </pc:docChg>
  </pc:docChgLst>
  <pc:docChgLst>
    <pc:chgData name="Tambe Tabitha" userId="S::tambe.tabitha@socialfinance.org.uk::f83f624f-03d5-4386-8962-054036e70eac" providerId="AD" clId="Web-{889D3744-E8EC-090F-751F-F831DACD8874}"/>
    <pc:docChg chg="modSld">
      <pc:chgData name="Tambe Tabitha" userId="S::tambe.tabitha@socialfinance.org.uk::f83f624f-03d5-4386-8962-054036e70eac" providerId="AD" clId="Web-{889D3744-E8EC-090F-751F-F831DACD8874}" dt="2022-03-03T16:49:55.015" v="8" actId="14100"/>
      <pc:docMkLst>
        <pc:docMk/>
      </pc:docMkLst>
      <pc:sldChg chg="modSp">
        <pc:chgData name="Tambe Tabitha" userId="S::tambe.tabitha@socialfinance.org.uk::f83f624f-03d5-4386-8962-054036e70eac" providerId="AD" clId="Web-{889D3744-E8EC-090F-751F-F831DACD8874}" dt="2022-03-03T16:49:55.015" v="8" actId="14100"/>
        <pc:sldMkLst>
          <pc:docMk/>
          <pc:sldMk cId="875505952" sldId="2287"/>
        </pc:sldMkLst>
        <pc:spChg chg="mod">
          <ac:chgData name="Tambe Tabitha" userId="S::tambe.tabitha@socialfinance.org.uk::f83f624f-03d5-4386-8962-054036e70eac" providerId="AD" clId="Web-{889D3744-E8EC-090F-751F-F831DACD8874}" dt="2022-03-03T16:49:55.015" v="8" actId="14100"/>
          <ac:spMkLst>
            <pc:docMk/>
            <pc:sldMk cId="875505952" sldId="2287"/>
            <ac:spMk id="2" creationId="{6E2ED46A-A92E-4CA9-BE55-8F168E30A7EC}"/>
          </ac:spMkLst>
        </pc:spChg>
      </pc:sldChg>
    </pc:docChg>
  </pc:docChgLst>
  <pc:docChgLst>
    <pc:chgData name="Tambe Tabitha" userId="S::tambe.tabitha@socialfinance.org.uk::f83f624f-03d5-4386-8962-054036e70eac" providerId="AD" clId="Web-{D71D7931-B6F0-D072-670B-D86FDFDFBAED}"/>
    <pc:docChg chg="addSld modSld">
      <pc:chgData name="Tambe Tabitha" userId="S::tambe.tabitha@socialfinance.org.uk::f83f624f-03d5-4386-8962-054036e70eac" providerId="AD" clId="Web-{D71D7931-B6F0-D072-670B-D86FDFDFBAED}" dt="2022-03-02T17:42:12.466" v="4" actId="20577"/>
      <pc:docMkLst>
        <pc:docMk/>
      </pc:docMkLst>
      <pc:sldChg chg="modSp">
        <pc:chgData name="Tambe Tabitha" userId="S::tambe.tabitha@socialfinance.org.uk::f83f624f-03d5-4386-8962-054036e70eac" providerId="AD" clId="Web-{D71D7931-B6F0-D072-670B-D86FDFDFBAED}" dt="2022-03-02T17:42:12.466" v="4" actId="20577"/>
        <pc:sldMkLst>
          <pc:docMk/>
          <pc:sldMk cId="3551227195" sldId="2281"/>
        </pc:sldMkLst>
        <pc:spChg chg="mod">
          <ac:chgData name="Tambe Tabitha" userId="S::tambe.tabitha@socialfinance.org.uk::f83f624f-03d5-4386-8962-054036e70eac" providerId="AD" clId="Web-{D71D7931-B6F0-D072-670B-D86FDFDFBAED}" dt="2022-03-02T17:42:12.466" v="4" actId="20577"/>
          <ac:spMkLst>
            <pc:docMk/>
            <pc:sldMk cId="3551227195" sldId="2281"/>
            <ac:spMk id="2" creationId="{C866C82E-7AE4-4BD5-A34D-2D64A00BA789}"/>
          </ac:spMkLst>
        </pc:spChg>
      </pc:sldChg>
      <pc:sldChg chg="add replId">
        <pc:chgData name="Tambe Tabitha" userId="S::tambe.tabitha@socialfinance.org.uk::f83f624f-03d5-4386-8962-054036e70eac" providerId="AD" clId="Web-{D71D7931-B6F0-D072-670B-D86FDFDFBAED}" dt="2022-03-02T17:41:53.388" v="0"/>
        <pc:sldMkLst>
          <pc:docMk/>
          <pc:sldMk cId="1509903865" sldId="2284"/>
        </pc:sldMkLst>
      </pc:sldChg>
    </pc:docChg>
  </pc:docChgLst>
  <pc:docChgLst>
    <pc:chgData name="Tambe Tabitha" userId="S::tambe.tabitha@socialfinance.org.uk::f83f624f-03d5-4386-8962-054036e70eac" providerId="AD" clId="Web-{E59A9400-72F9-7C31-29C7-911B90477C34}"/>
    <pc:docChg chg="addSld modSld">
      <pc:chgData name="Tambe Tabitha" userId="S::tambe.tabitha@socialfinance.org.uk::f83f624f-03d5-4386-8962-054036e70eac" providerId="AD" clId="Web-{E59A9400-72F9-7C31-29C7-911B90477C34}" dt="2022-02-24T17:13:41.223" v="14" actId="20577"/>
      <pc:docMkLst>
        <pc:docMk/>
      </pc:docMkLst>
      <pc:sldChg chg="modSp add replId">
        <pc:chgData name="Tambe Tabitha" userId="S::tambe.tabitha@socialfinance.org.uk::f83f624f-03d5-4386-8962-054036e70eac" providerId="AD" clId="Web-{E59A9400-72F9-7C31-29C7-911B90477C34}" dt="2022-02-24T17:13:22.160" v="7" actId="20577"/>
        <pc:sldMkLst>
          <pc:docMk/>
          <pc:sldMk cId="461282927" sldId="2282"/>
        </pc:sldMkLst>
        <pc:spChg chg="mod">
          <ac:chgData name="Tambe Tabitha" userId="S::tambe.tabitha@socialfinance.org.uk::f83f624f-03d5-4386-8962-054036e70eac" providerId="AD" clId="Web-{E59A9400-72F9-7C31-29C7-911B90477C34}" dt="2022-02-24T17:13:22.160" v="7" actId="20577"/>
          <ac:spMkLst>
            <pc:docMk/>
            <pc:sldMk cId="461282927" sldId="2282"/>
            <ac:spMk id="2" creationId="{C866C82E-7AE4-4BD5-A34D-2D64A00BA789}"/>
          </ac:spMkLst>
        </pc:spChg>
      </pc:sldChg>
      <pc:sldChg chg="modSp add replId">
        <pc:chgData name="Tambe Tabitha" userId="S::tambe.tabitha@socialfinance.org.uk::f83f624f-03d5-4386-8962-054036e70eac" providerId="AD" clId="Web-{E59A9400-72F9-7C31-29C7-911B90477C34}" dt="2022-02-24T17:13:41.223" v="14" actId="20577"/>
        <pc:sldMkLst>
          <pc:docMk/>
          <pc:sldMk cId="4136977975" sldId="2283"/>
        </pc:sldMkLst>
        <pc:spChg chg="mod">
          <ac:chgData name="Tambe Tabitha" userId="S::tambe.tabitha@socialfinance.org.uk::f83f624f-03d5-4386-8962-054036e70eac" providerId="AD" clId="Web-{E59A9400-72F9-7C31-29C7-911B90477C34}" dt="2022-02-24T17:13:41.223" v="14" actId="20577"/>
          <ac:spMkLst>
            <pc:docMk/>
            <pc:sldMk cId="4136977975" sldId="2283"/>
            <ac:spMk id="2" creationId="{C866C82E-7AE4-4BD5-A34D-2D64A00BA789}"/>
          </ac:spMkLst>
        </pc:spChg>
      </pc:sldChg>
    </pc:docChg>
  </pc:docChgLst>
  <pc:docChgLst>
    <pc:chgData name="Tambe Tabitha" userId="S::tambe.tabitha@socialfinance.org.uk::f83f624f-03d5-4386-8962-054036e70eac" providerId="AD" clId="Web-{4876910B-8509-17ED-4914-CC0AF052E764}"/>
    <pc:docChg chg="delSld modSld">
      <pc:chgData name="Tambe Tabitha" userId="S::tambe.tabitha@socialfinance.org.uk::f83f624f-03d5-4386-8962-054036e70eac" providerId="AD" clId="Web-{4876910B-8509-17ED-4914-CC0AF052E764}" dt="2022-02-24T10:19:14.161" v="13" actId="14100"/>
      <pc:docMkLst>
        <pc:docMk/>
      </pc:docMkLst>
      <pc:sldChg chg="del">
        <pc:chgData name="Tambe Tabitha" userId="S::tambe.tabitha@socialfinance.org.uk::f83f624f-03d5-4386-8962-054036e70eac" providerId="AD" clId="Web-{4876910B-8509-17ED-4914-CC0AF052E764}" dt="2022-02-24T10:17:46.113" v="0"/>
        <pc:sldMkLst>
          <pc:docMk/>
          <pc:sldMk cId="1478530177" sldId="256"/>
        </pc:sldMkLst>
      </pc:sldChg>
      <pc:sldChg chg="del">
        <pc:chgData name="Tambe Tabitha" userId="S::tambe.tabitha@socialfinance.org.uk::f83f624f-03d5-4386-8962-054036e70eac" providerId="AD" clId="Web-{4876910B-8509-17ED-4914-CC0AF052E764}" dt="2022-02-24T10:18:10.598" v="4"/>
        <pc:sldMkLst>
          <pc:docMk/>
          <pc:sldMk cId="1609862278" sldId="432"/>
        </pc:sldMkLst>
      </pc:sldChg>
      <pc:sldChg chg="del">
        <pc:chgData name="Tambe Tabitha" userId="S::tambe.tabitha@socialfinance.org.uk::f83f624f-03d5-4386-8962-054036e70eac" providerId="AD" clId="Web-{4876910B-8509-17ED-4914-CC0AF052E764}" dt="2022-02-24T10:18:33.004" v="10"/>
        <pc:sldMkLst>
          <pc:docMk/>
          <pc:sldMk cId="1806914356" sldId="470"/>
        </pc:sldMkLst>
      </pc:sldChg>
      <pc:sldChg chg="del">
        <pc:chgData name="Tambe Tabitha" userId="S::tambe.tabitha@socialfinance.org.uk::f83f624f-03d5-4386-8962-054036e70eac" providerId="AD" clId="Web-{4876910B-8509-17ED-4914-CC0AF052E764}" dt="2022-02-24T10:18:20.223" v="6"/>
        <pc:sldMkLst>
          <pc:docMk/>
          <pc:sldMk cId="1424688485" sldId="474"/>
        </pc:sldMkLst>
      </pc:sldChg>
      <pc:sldChg chg="del">
        <pc:chgData name="Tambe Tabitha" userId="S::tambe.tabitha@socialfinance.org.uk::f83f624f-03d5-4386-8962-054036e70eac" providerId="AD" clId="Web-{4876910B-8509-17ED-4914-CC0AF052E764}" dt="2022-02-24T10:18:26.895" v="8"/>
        <pc:sldMkLst>
          <pc:docMk/>
          <pc:sldMk cId="3564181911" sldId="477"/>
        </pc:sldMkLst>
      </pc:sldChg>
      <pc:sldChg chg="del">
        <pc:chgData name="Tambe Tabitha" userId="S::tambe.tabitha@socialfinance.org.uk::f83f624f-03d5-4386-8962-054036e70eac" providerId="AD" clId="Web-{4876910B-8509-17ED-4914-CC0AF052E764}" dt="2022-02-24T10:17:49.253" v="1"/>
        <pc:sldMkLst>
          <pc:docMk/>
          <pc:sldMk cId="2557545801" sldId="2264"/>
        </pc:sldMkLst>
      </pc:sldChg>
      <pc:sldChg chg="del">
        <pc:chgData name="Tambe Tabitha" userId="S::tambe.tabitha@socialfinance.org.uk::f83f624f-03d5-4386-8962-054036e70eac" providerId="AD" clId="Web-{4876910B-8509-17ED-4914-CC0AF052E764}" dt="2022-02-24T10:17:58.644" v="2"/>
        <pc:sldMkLst>
          <pc:docMk/>
          <pc:sldMk cId="2344639552" sldId="2265"/>
        </pc:sldMkLst>
      </pc:sldChg>
      <pc:sldChg chg="del">
        <pc:chgData name="Tambe Tabitha" userId="S::tambe.tabitha@socialfinance.org.uk::f83f624f-03d5-4386-8962-054036e70eac" providerId="AD" clId="Web-{4876910B-8509-17ED-4914-CC0AF052E764}" dt="2022-02-24T10:18:23.051" v="7"/>
        <pc:sldMkLst>
          <pc:docMk/>
          <pc:sldMk cId="3582505810" sldId="2273"/>
        </pc:sldMkLst>
      </pc:sldChg>
      <pc:sldChg chg="del">
        <pc:chgData name="Tambe Tabitha" userId="S::tambe.tabitha@socialfinance.org.uk::f83f624f-03d5-4386-8962-054036e70eac" providerId="AD" clId="Web-{4876910B-8509-17ED-4914-CC0AF052E764}" dt="2022-02-24T10:18:15.473" v="5"/>
        <pc:sldMkLst>
          <pc:docMk/>
          <pc:sldMk cId="180020562" sldId="2274"/>
        </pc:sldMkLst>
      </pc:sldChg>
      <pc:sldChg chg="del">
        <pc:chgData name="Tambe Tabitha" userId="S::tambe.tabitha@socialfinance.org.uk::f83f624f-03d5-4386-8962-054036e70eac" providerId="AD" clId="Web-{4876910B-8509-17ED-4914-CC0AF052E764}" dt="2022-02-24T10:18:06.316" v="3"/>
        <pc:sldMkLst>
          <pc:docMk/>
          <pc:sldMk cId="1692840444" sldId="2276"/>
        </pc:sldMkLst>
      </pc:sldChg>
      <pc:sldChg chg="del">
        <pc:chgData name="Tambe Tabitha" userId="S::tambe.tabitha@socialfinance.org.uk::f83f624f-03d5-4386-8962-054036e70eac" providerId="AD" clId="Web-{4876910B-8509-17ED-4914-CC0AF052E764}" dt="2022-02-24T10:18:30.020" v="9"/>
        <pc:sldMkLst>
          <pc:docMk/>
          <pc:sldMk cId="2586069681" sldId="2280"/>
        </pc:sldMkLst>
      </pc:sldChg>
      <pc:sldChg chg="modSp">
        <pc:chgData name="Tambe Tabitha" userId="S::tambe.tabitha@socialfinance.org.uk::f83f624f-03d5-4386-8962-054036e70eac" providerId="AD" clId="Web-{4876910B-8509-17ED-4914-CC0AF052E764}" dt="2022-02-24T10:19:14.161" v="13" actId="14100"/>
        <pc:sldMkLst>
          <pc:docMk/>
          <pc:sldMk cId="3551227195" sldId="2281"/>
        </pc:sldMkLst>
        <pc:spChg chg="mod">
          <ac:chgData name="Tambe Tabitha" userId="S::tambe.tabitha@socialfinance.org.uk::f83f624f-03d5-4386-8962-054036e70eac" providerId="AD" clId="Web-{4876910B-8509-17ED-4914-CC0AF052E764}" dt="2022-02-24T10:18:46.723" v="11" actId="20577"/>
          <ac:spMkLst>
            <pc:docMk/>
            <pc:sldMk cId="3551227195" sldId="2281"/>
            <ac:spMk id="6" creationId="{252AA61E-2A3E-4E0C-BFB3-78B669CA63DB}"/>
          </ac:spMkLst>
        </pc:spChg>
        <pc:spChg chg="mod">
          <ac:chgData name="Tambe Tabitha" userId="S::tambe.tabitha@socialfinance.org.uk::f83f624f-03d5-4386-8962-054036e70eac" providerId="AD" clId="Web-{4876910B-8509-17ED-4914-CC0AF052E764}" dt="2022-02-24T10:19:14.161" v="13" actId="14100"/>
          <ac:spMkLst>
            <pc:docMk/>
            <pc:sldMk cId="3551227195" sldId="2281"/>
            <ac:spMk id="23" creationId="{63D5DEA9-07B1-4BF9-9D35-BE2C0039926C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266DCC-F58F-4251-B270-77221725B456}" type="datetimeFigureOut">
              <a:rPr lang="en-GB" smtClean="0"/>
              <a:t>25/08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617A18-5642-4803-9CEF-55128183F3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8394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617A18-5642-4803-9CEF-55128183F372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9511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9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B0C1FC76-C5F1-4B3A-B176-A69FA5033ED3}"/>
              </a:ext>
            </a:extLst>
          </p:cNvPr>
          <p:cNvGrpSpPr/>
          <p:nvPr userDrawn="1"/>
        </p:nvGrpSpPr>
        <p:grpSpPr>
          <a:xfrm>
            <a:off x="1398821" y="479471"/>
            <a:ext cx="10303903" cy="420356"/>
            <a:chOff x="2164606" y="421532"/>
            <a:chExt cx="7727927" cy="420356"/>
          </a:xfrm>
        </p:grpSpPr>
        <p:pic>
          <p:nvPicPr>
            <p:cNvPr id="20" name="Picture 19" descr="SF_PPT_TITLE_LOGO.png">
              <a:extLst>
                <a:ext uri="{FF2B5EF4-FFF2-40B4-BE49-F238E27FC236}">
                  <a16:creationId xmlns:a16="http://schemas.microsoft.com/office/drawing/2014/main" id="{3942252C-56FD-40A5-954D-0498F0C814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8695481" y="435553"/>
              <a:ext cx="1197052" cy="247738"/>
            </a:xfrm>
            <a:prstGeom prst="rect">
              <a:avLst/>
            </a:prstGeom>
          </p:spPr>
        </p:pic>
        <p:pic>
          <p:nvPicPr>
            <p:cNvPr id="22" name="Picture 2" descr="Related image">
              <a:extLst>
                <a:ext uri="{FF2B5EF4-FFF2-40B4-BE49-F238E27FC236}">
                  <a16:creationId xmlns:a16="http://schemas.microsoft.com/office/drawing/2014/main" id="{F0825C46-31CD-4466-BC3B-52E061E8FCF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4606" y="454023"/>
              <a:ext cx="1235634" cy="3384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4" descr="Related image">
              <a:extLst>
                <a:ext uri="{FF2B5EF4-FFF2-40B4-BE49-F238E27FC236}">
                  <a16:creationId xmlns:a16="http://schemas.microsoft.com/office/drawing/2014/main" id="{9C61CC57-FF30-49A5-8C40-86E22E07409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887" t="30186" b="1"/>
            <a:stretch/>
          </p:blipFill>
          <p:spPr bwMode="auto">
            <a:xfrm>
              <a:off x="3597908" y="424436"/>
              <a:ext cx="1235634" cy="3076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6" descr="Related image">
              <a:extLst>
                <a:ext uri="{FF2B5EF4-FFF2-40B4-BE49-F238E27FC236}">
                  <a16:creationId xmlns:a16="http://schemas.microsoft.com/office/drawing/2014/main" id="{B5114023-7F6A-4D60-9C1E-86394F6CB83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9185" b="32561"/>
            <a:stretch/>
          </p:blipFill>
          <p:spPr bwMode="auto">
            <a:xfrm>
              <a:off x="6149550" y="424043"/>
              <a:ext cx="1233471" cy="348498"/>
            </a:xfrm>
            <a:prstGeom prst="rect">
              <a:avLst/>
            </a:prstGeom>
            <a:noFill/>
          </p:spPr>
        </p:pic>
        <p:pic>
          <p:nvPicPr>
            <p:cNvPr id="25" name="Picture 10" descr="Related image">
              <a:extLst>
                <a:ext uri="{FF2B5EF4-FFF2-40B4-BE49-F238E27FC236}">
                  <a16:creationId xmlns:a16="http://schemas.microsoft.com/office/drawing/2014/main" id="{E7B6599F-CE8A-407C-830B-7D2D104BF59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77092" y="435553"/>
              <a:ext cx="782568" cy="4063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12" descr="Image result for wigan council logo">
              <a:extLst>
                <a:ext uri="{FF2B5EF4-FFF2-40B4-BE49-F238E27FC236}">
                  <a16:creationId xmlns:a16="http://schemas.microsoft.com/office/drawing/2014/main" id="{F1E37896-7661-4968-BBF3-C4C94357F934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428" b="23300"/>
            <a:stretch/>
          </p:blipFill>
          <p:spPr bwMode="auto">
            <a:xfrm>
              <a:off x="5031210" y="421532"/>
              <a:ext cx="734896" cy="3473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9992397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805467" y="1982449"/>
            <a:ext cx="2819268" cy="2520617"/>
          </a:xfrm>
        </p:spPr>
        <p:txBody>
          <a:bodyPr lIns="162000" tIns="162000" rIns="162000" bIns="162000">
            <a:noAutofit/>
          </a:bodyPr>
          <a:lstStyle>
            <a:lvl1pPr>
              <a:defRPr lang="en-GB" sz="1400" b="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20000"/>
              <a:buFont typeface="Arial" pitchFamily="34" charset="0"/>
              <a:buNone/>
            </a:pPr>
            <a:r>
              <a:rPr lang="en-US"/>
              <a:t>Click to edit </a:t>
            </a:r>
            <a:r>
              <a:rPr lang="en-US" err="1"/>
              <a:t>Mastaer</a:t>
            </a:r>
            <a:r>
              <a:rPr lang="en-US"/>
              <a:t> text styles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C6A4B429-0189-47CD-9DDA-A001F58C55D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5478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C6A4B429-0189-47CD-9DDA-A001F58C55D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626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C6A4B429-0189-47CD-9DDA-A001F58C55D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0929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Proj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93285" y="1323976"/>
            <a:ext cx="10352617" cy="4802188"/>
          </a:xfrm>
        </p:spPr>
        <p:txBody>
          <a:bodyPr>
            <a:normAutofit/>
          </a:bodyPr>
          <a:lstStyle>
            <a:lvl1pPr>
              <a:spcBef>
                <a:spcPts val="1200"/>
              </a:spcBef>
              <a:buNone/>
              <a:defRPr lang="en-US" sz="1600" b="1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8600" indent="-228600">
              <a:spcBef>
                <a:spcPts val="0"/>
              </a:spcBef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bg2"/>
                </a:solidFill>
              </a:defRPr>
            </a:lvl2pPr>
            <a:lvl3pPr marL="460800">
              <a:spcBef>
                <a:spcPts val="0"/>
              </a:spcBef>
              <a:buClr>
                <a:schemeClr val="bg1"/>
              </a:buClr>
              <a:buFont typeface="Arial" pitchFamily="34" charset="0"/>
              <a:buChar char="–"/>
              <a:defRPr sz="1600" b="0">
                <a:solidFill>
                  <a:schemeClr val="bg2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2"/>
                </a:solidFill>
              </a:defRPr>
            </a:lvl1pPr>
          </a:lstStyle>
          <a:p>
            <a:fld id="{C6A4B429-0189-47CD-9DDA-A001F58C55D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6954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roj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C6A4B429-0189-47CD-9DDA-A001F58C55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293285" y="1336677"/>
            <a:ext cx="10352617" cy="479742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10924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C6A4B429-0189-47CD-9DDA-A001F58C55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272120" y="1323977"/>
            <a:ext cx="10352617" cy="4810125"/>
          </a:xfrm>
        </p:spPr>
        <p:txBody>
          <a:bodyPr>
            <a:normAutofit/>
          </a:bodyPr>
          <a:lstStyle>
            <a:lvl1pPr>
              <a:defRPr lang="en-US" sz="2000" b="0" kern="1200" cap="all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20000"/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25714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2"/>
                </a:solidFill>
              </a:defRPr>
            </a:lvl1pPr>
          </a:lstStyle>
          <a:p>
            <a:fld id="{C6A4B429-0189-47CD-9DDA-A001F58C55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818221" y="2313433"/>
            <a:ext cx="4032588" cy="3812730"/>
          </a:xfrm>
        </p:spPr>
        <p:txBody>
          <a:bodyPr lIns="288000" tIns="288000" rIns="288000" bIns="288000">
            <a:noAutofit/>
          </a:bodyPr>
          <a:lstStyle>
            <a:lvl1pPr>
              <a:defRPr lang="en-GB" sz="2000" b="0" kern="1200" cap="all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20000"/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14258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2"/>
                </a:solidFill>
              </a:defRPr>
            </a:lvl1pPr>
          </a:lstStyle>
          <a:p>
            <a:fld id="{C6A4B429-0189-47CD-9DDA-A001F58C55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272120" y="1323977"/>
            <a:ext cx="10352617" cy="4810125"/>
          </a:xfrm>
        </p:spPr>
        <p:txBody>
          <a:bodyPr>
            <a:normAutofit/>
          </a:bodyPr>
          <a:lstStyle>
            <a:lvl1pPr>
              <a:defRPr lang="en-US" sz="2000" b="0" kern="1200" cap="all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20000"/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56794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2"/>
                </a:solidFill>
              </a:defRPr>
            </a:lvl1pPr>
          </a:lstStyle>
          <a:p>
            <a:fld id="{C6A4B429-0189-47CD-9DDA-A001F58C55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18"/>
          <p:cNvSpPr txBox="1">
            <a:spLocks/>
          </p:cNvSpPr>
          <p:nvPr userDrawn="1"/>
        </p:nvSpPr>
        <p:spPr>
          <a:xfrm>
            <a:off x="1293285" y="6573395"/>
            <a:ext cx="10289116" cy="135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buNone/>
              <a:defRPr sz="1100">
                <a:latin typeface="+mj-lt"/>
              </a:defRPr>
            </a:lvl1pPr>
            <a:lvl2pPr>
              <a:buNone/>
              <a:defRPr>
                <a:latin typeface="+mj-lt"/>
              </a:defRPr>
            </a:lvl2pPr>
            <a:lvl3pPr>
              <a:buNone/>
              <a:defRPr>
                <a:latin typeface="+mj-lt"/>
              </a:defRPr>
            </a:lvl3pPr>
            <a:lvl4pPr>
              <a:buNone/>
              <a:defRPr>
                <a:latin typeface="+mj-lt"/>
              </a:defRPr>
            </a:lvl4pPr>
            <a:lvl5pPr>
              <a:buNone/>
              <a:defRPr>
                <a:latin typeface="+mj-lt"/>
              </a:defRPr>
            </a:lvl5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©Social Finance 2017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818221" y="2313433"/>
            <a:ext cx="4032588" cy="3812730"/>
          </a:xfrm>
        </p:spPr>
        <p:txBody>
          <a:bodyPr lIns="288000" tIns="288000" rIns="288000" bIns="288000">
            <a:noAutofit/>
          </a:bodyPr>
          <a:lstStyle>
            <a:lvl1pPr>
              <a:defRPr lang="en-GB" sz="2000" b="0" kern="1200" cap="all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20000"/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  <p:pic>
        <p:nvPicPr>
          <p:cNvPr id="13" name="Picture 12" descr="SF_PPT_SLIDE_LOGO_WHT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17515" y="495355"/>
            <a:ext cx="499200" cy="191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8177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2"/>
                </a:solidFill>
              </a:defRPr>
            </a:lvl1pPr>
          </a:lstStyle>
          <a:p>
            <a:fld id="{C6A4B429-0189-47CD-9DDA-A001F58C55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18"/>
          <p:cNvSpPr txBox="1">
            <a:spLocks/>
          </p:cNvSpPr>
          <p:nvPr userDrawn="1"/>
        </p:nvSpPr>
        <p:spPr>
          <a:xfrm>
            <a:off x="1293285" y="6573395"/>
            <a:ext cx="10289116" cy="135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buNone/>
              <a:defRPr sz="1100">
                <a:latin typeface="+mj-lt"/>
              </a:defRPr>
            </a:lvl1pPr>
            <a:lvl2pPr>
              <a:buNone/>
              <a:defRPr>
                <a:latin typeface="+mj-lt"/>
              </a:defRPr>
            </a:lvl2pPr>
            <a:lvl3pPr>
              <a:buNone/>
              <a:defRPr>
                <a:latin typeface="+mj-lt"/>
              </a:defRPr>
            </a:lvl3pPr>
            <a:lvl4pPr>
              <a:buNone/>
              <a:defRPr>
                <a:latin typeface="+mj-lt"/>
              </a:defRPr>
            </a:lvl4pPr>
            <a:lvl5pPr>
              <a:buNone/>
              <a:defRPr>
                <a:latin typeface="+mj-lt"/>
              </a:defRPr>
            </a:lvl5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©Social Finance 2017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272120" y="1323977"/>
            <a:ext cx="10352617" cy="4810125"/>
          </a:xfrm>
        </p:spPr>
        <p:txBody>
          <a:bodyPr>
            <a:normAutofit/>
          </a:bodyPr>
          <a:lstStyle>
            <a:lvl1pPr>
              <a:defRPr lang="en-US" sz="2000" b="0" kern="1200" cap="all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20000"/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  <p:pic>
        <p:nvPicPr>
          <p:cNvPr id="9" name="Picture 8" descr="SF_PPT_SLIDE_LOGO_WHT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17515" y="495355"/>
            <a:ext cx="499200" cy="191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8462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No B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70549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F_PPT_TITLE_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91618" y="454023"/>
            <a:ext cx="1596069" cy="247738"/>
          </a:xfrm>
          <a:prstGeom prst="rect">
            <a:avLst/>
          </a:prstGeom>
        </p:spPr>
      </p:pic>
      <p:pic>
        <p:nvPicPr>
          <p:cNvPr id="16" name="Picture 2" descr="Related image">
            <a:extLst>
              <a:ext uri="{FF2B5EF4-FFF2-40B4-BE49-F238E27FC236}">
                <a16:creationId xmlns:a16="http://schemas.microsoft.com/office/drawing/2014/main" id="{608CF915-A2C1-4736-BD0A-7F9DD65DB6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6141" y="454023"/>
            <a:ext cx="1647512" cy="338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Related image">
            <a:extLst>
              <a:ext uri="{FF2B5EF4-FFF2-40B4-BE49-F238E27FC236}">
                <a16:creationId xmlns:a16="http://schemas.microsoft.com/office/drawing/2014/main" id="{69FB894B-F625-44F6-9B0C-D48B8516670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7" t="30186" b="1"/>
          <a:stretch/>
        </p:blipFill>
        <p:spPr bwMode="auto">
          <a:xfrm>
            <a:off x="4797211" y="424437"/>
            <a:ext cx="1647512" cy="307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Related image">
            <a:extLst>
              <a:ext uri="{FF2B5EF4-FFF2-40B4-BE49-F238E27FC236}">
                <a16:creationId xmlns:a16="http://schemas.microsoft.com/office/drawing/2014/main" id="{0423F875-6E19-4868-84F1-0F03A5C2AD7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185" b="32561"/>
          <a:stretch/>
        </p:blipFill>
        <p:spPr bwMode="auto">
          <a:xfrm>
            <a:off x="8199401" y="424043"/>
            <a:ext cx="1644628" cy="348498"/>
          </a:xfrm>
          <a:prstGeom prst="rect">
            <a:avLst/>
          </a:prstGeom>
          <a:noFill/>
        </p:spPr>
      </p:pic>
      <p:pic>
        <p:nvPicPr>
          <p:cNvPr id="20" name="Picture 10" descr="Related image">
            <a:extLst>
              <a:ext uri="{FF2B5EF4-FFF2-40B4-BE49-F238E27FC236}">
                <a16:creationId xmlns:a16="http://schemas.microsoft.com/office/drawing/2014/main" id="{C454F13A-A4FC-486A-A4C1-70F5E22EEE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6123" y="435554"/>
            <a:ext cx="1043424" cy="406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2" descr="Image result for wigan council logo">
            <a:extLst>
              <a:ext uri="{FF2B5EF4-FFF2-40B4-BE49-F238E27FC236}">
                <a16:creationId xmlns:a16="http://schemas.microsoft.com/office/drawing/2014/main" id="{FA1C99AA-CFD0-42C9-8C01-CF65ABB468E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428" b="23300"/>
          <a:stretch/>
        </p:blipFill>
        <p:spPr bwMode="auto">
          <a:xfrm>
            <a:off x="6717447" y="441414"/>
            <a:ext cx="979861" cy="347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17664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18218" y="2529557"/>
            <a:ext cx="8557684" cy="808005"/>
          </a:xfrm>
        </p:spPr>
        <p:txBody>
          <a:bodyPr lIns="0" tIns="0" rIns="0" bIns="0" anchor="t" anchorCtr="0">
            <a:normAutofit/>
          </a:bodyPr>
          <a:lstStyle>
            <a:lvl1pPr algn="l">
              <a:defRPr sz="24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1818220" y="4106865"/>
            <a:ext cx="8557680" cy="25824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1818220" y="4327006"/>
            <a:ext cx="8557680" cy="257696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>
                <a:latin typeface="+mn-lt"/>
              </a:defRPr>
            </a:lvl1pPr>
          </a:lstStyle>
          <a:p>
            <a:pPr lvl="0"/>
            <a:r>
              <a:rPr lang="en-GB"/>
              <a:t>email</a:t>
            </a:r>
            <a:endParaRPr lang="en-US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1818218" y="6464650"/>
            <a:ext cx="8671983" cy="280987"/>
          </a:xfrm>
        </p:spPr>
        <p:txBody>
          <a:bodyPr>
            <a:normAutofit/>
          </a:bodyPr>
          <a:lstStyle>
            <a:lvl1pPr>
              <a:buNone/>
              <a:defRPr sz="1100" b="0">
                <a:latin typeface="+mj-lt"/>
              </a:defRPr>
            </a:lvl1pPr>
            <a:lvl2pPr>
              <a:buNone/>
              <a:defRPr>
                <a:latin typeface="+mj-lt"/>
              </a:defRPr>
            </a:lvl2pPr>
            <a:lvl3pPr>
              <a:buNone/>
              <a:defRPr>
                <a:latin typeface="+mj-lt"/>
              </a:defRPr>
            </a:lvl3pPr>
            <a:lvl4pPr>
              <a:buNone/>
              <a:defRPr>
                <a:latin typeface="+mj-lt"/>
              </a:defRPr>
            </a:lvl4pPr>
            <a:lvl5pPr>
              <a:buNone/>
              <a:defRPr>
                <a:latin typeface="+mj-lt"/>
              </a:defRPr>
            </a:lvl5pPr>
          </a:lstStyle>
          <a:p>
            <a:r>
              <a:rPr lang="en-US"/>
              <a:t>Social Finance is </a:t>
            </a:r>
            <a:r>
              <a:rPr lang="en-US" err="1"/>
              <a:t>authorised</a:t>
            </a:r>
            <a:r>
              <a:rPr lang="en-US"/>
              <a:t> and regulated by the Financial Service Authority FSA No: 497568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1818220" y="3482976"/>
            <a:ext cx="8557680" cy="409575"/>
          </a:xfrm>
        </p:spPr>
        <p:txBody>
          <a:bodyPr>
            <a:noAutofit/>
          </a:bodyPr>
          <a:lstStyle>
            <a:lvl1pPr marL="0" algn="l" defTabSz="914400" rtl="0" eaLnBrk="1" latinLnBrk="0" hangingPunct="1">
              <a:defRPr lang="en-US" sz="2400" b="0" kern="1200" cap="all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914400" rtl="0" eaLnBrk="1" latinLnBrk="0" hangingPunct="1">
              <a:defRPr lang="en-US" sz="2400" kern="1200" cap="all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algn="l" defTabSz="914400" rtl="0" eaLnBrk="1" latinLnBrk="0" hangingPunct="1">
              <a:defRPr lang="en-US" sz="2400" kern="1200" cap="all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algn="l" defTabSz="914400" rtl="0" eaLnBrk="1" latinLnBrk="0" hangingPunct="1">
              <a:defRPr lang="en-US" sz="2400" kern="1200" cap="all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algn="l" defTabSz="914400" rtl="0" eaLnBrk="1" latinLnBrk="0" hangingPunct="1">
              <a:defRPr lang="en-US" sz="2400" kern="1200" cap="all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00 MONTH YEAR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1818220" y="4537078"/>
            <a:ext cx="8557680" cy="25824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818220" y="4757218"/>
            <a:ext cx="8557680" cy="257696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>
                <a:latin typeface="+mn-lt"/>
              </a:defRPr>
            </a:lvl1pPr>
          </a:lstStyle>
          <a:p>
            <a:pPr lvl="0"/>
            <a:r>
              <a:rPr lang="en-GB"/>
              <a:t>email</a:t>
            </a:r>
            <a:endParaRPr lang="en-US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1818220" y="4967291"/>
            <a:ext cx="8557680" cy="25824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1818220" y="5187432"/>
            <a:ext cx="8557680" cy="257696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>
                <a:latin typeface="+mn-lt"/>
              </a:defRPr>
            </a:lvl1pPr>
          </a:lstStyle>
          <a:p>
            <a:pPr lvl="0"/>
            <a:r>
              <a:rPr lang="en-GB"/>
              <a:t>email</a:t>
            </a:r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802ADDE-FA26-4CE8-A9CC-D2F1F6AE6229}"/>
              </a:ext>
            </a:extLst>
          </p:cNvPr>
          <p:cNvGrpSpPr/>
          <p:nvPr userDrawn="1"/>
        </p:nvGrpSpPr>
        <p:grpSpPr>
          <a:xfrm>
            <a:off x="1091616" y="424043"/>
            <a:ext cx="10093219" cy="409575"/>
            <a:chOff x="818712" y="424042"/>
            <a:chExt cx="7647188" cy="421086"/>
          </a:xfrm>
        </p:grpSpPr>
        <p:pic>
          <p:nvPicPr>
            <p:cNvPr id="8" name="Picture 7" descr="SF_PPT_TITLE_LOGO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818712" y="454022"/>
              <a:ext cx="1206595" cy="249713"/>
            </a:xfrm>
            <a:prstGeom prst="rect">
              <a:avLst/>
            </a:prstGeom>
          </p:spPr>
        </p:pic>
        <p:pic>
          <p:nvPicPr>
            <p:cNvPr id="16" name="Picture 2" descr="Related image">
              <a:extLst>
                <a:ext uri="{FF2B5EF4-FFF2-40B4-BE49-F238E27FC236}">
                  <a16:creationId xmlns:a16="http://schemas.microsoft.com/office/drawing/2014/main" id="{608CF915-A2C1-4736-BD0A-7F9DD65DB67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4605" y="454023"/>
              <a:ext cx="1245485" cy="3411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4" descr="Related image">
              <a:extLst>
                <a:ext uri="{FF2B5EF4-FFF2-40B4-BE49-F238E27FC236}">
                  <a16:creationId xmlns:a16="http://schemas.microsoft.com/office/drawing/2014/main" id="{69FB894B-F625-44F6-9B0C-D48B8516670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887" t="30186" b="1"/>
            <a:stretch/>
          </p:blipFill>
          <p:spPr bwMode="auto">
            <a:xfrm>
              <a:off x="3597908" y="424436"/>
              <a:ext cx="1245486" cy="3101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6" descr="Related image">
              <a:extLst>
                <a:ext uri="{FF2B5EF4-FFF2-40B4-BE49-F238E27FC236}">
                  <a16:creationId xmlns:a16="http://schemas.microsoft.com/office/drawing/2014/main" id="{0423F875-6E19-4868-84F1-0F03A5C2AD75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9185" b="32561"/>
            <a:stretch/>
          </p:blipFill>
          <p:spPr bwMode="auto">
            <a:xfrm>
              <a:off x="6149550" y="424042"/>
              <a:ext cx="1243307" cy="351277"/>
            </a:xfrm>
            <a:prstGeom prst="rect">
              <a:avLst/>
            </a:prstGeom>
            <a:noFill/>
          </p:spPr>
        </p:pic>
        <p:pic>
          <p:nvPicPr>
            <p:cNvPr id="20" name="Picture 10" descr="Related image">
              <a:extLst>
                <a:ext uri="{FF2B5EF4-FFF2-40B4-BE49-F238E27FC236}">
                  <a16:creationId xmlns:a16="http://schemas.microsoft.com/office/drawing/2014/main" id="{C454F13A-A4FC-486A-A4C1-70F5E22EEEC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77092" y="435553"/>
              <a:ext cx="788808" cy="409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12" descr="Image result for wigan council logo">
              <a:extLst>
                <a:ext uri="{FF2B5EF4-FFF2-40B4-BE49-F238E27FC236}">
                  <a16:creationId xmlns:a16="http://schemas.microsoft.com/office/drawing/2014/main" id="{FA1C99AA-CFD0-42C9-8C01-CF65ABB468E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428" b="23300"/>
            <a:stretch/>
          </p:blipFill>
          <p:spPr bwMode="auto">
            <a:xfrm>
              <a:off x="5038085" y="441413"/>
              <a:ext cx="740756" cy="3501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041266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No B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18218" y="2529557"/>
            <a:ext cx="8557684" cy="808005"/>
          </a:xfrm>
        </p:spPr>
        <p:txBody>
          <a:bodyPr lIns="0" tIns="0" rIns="0" bIns="0" anchor="t" anchorCtr="0">
            <a:normAutofit/>
          </a:bodyPr>
          <a:lstStyle>
            <a:lvl1pPr algn="l">
              <a:defRPr sz="24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SF_PPT_TITLE_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1223" y="452929"/>
            <a:ext cx="2336805" cy="362713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1818220" y="4106865"/>
            <a:ext cx="8557680" cy="25824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1818220" y="4327006"/>
            <a:ext cx="8557680" cy="257696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>
                <a:latin typeface="+mn-lt"/>
              </a:defRPr>
            </a:lvl1pPr>
          </a:lstStyle>
          <a:p>
            <a:pPr lvl="0"/>
            <a:r>
              <a:rPr lang="en-GB"/>
              <a:t>email</a:t>
            </a:r>
            <a:endParaRPr lang="en-US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1818218" y="6464650"/>
            <a:ext cx="8671983" cy="280987"/>
          </a:xfrm>
        </p:spPr>
        <p:txBody>
          <a:bodyPr>
            <a:normAutofit/>
          </a:bodyPr>
          <a:lstStyle>
            <a:lvl1pPr>
              <a:buNone/>
              <a:defRPr sz="1100" b="0">
                <a:latin typeface="+mj-lt"/>
              </a:defRPr>
            </a:lvl1pPr>
            <a:lvl2pPr>
              <a:buNone/>
              <a:defRPr>
                <a:latin typeface="+mj-lt"/>
              </a:defRPr>
            </a:lvl2pPr>
            <a:lvl3pPr>
              <a:buNone/>
              <a:defRPr>
                <a:latin typeface="+mj-lt"/>
              </a:defRPr>
            </a:lvl3pPr>
            <a:lvl4pPr>
              <a:buNone/>
              <a:defRPr>
                <a:latin typeface="+mj-lt"/>
              </a:defRPr>
            </a:lvl4pPr>
            <a:lvl5pPr>
              <a:buNone/>
              <a:defRPr>
                <a:latin typeface="+mj-lt"/>
              </a:defRPr>
            </a:lvl5pPr>
          </a:lstStyle>
          <a:p>
            <a:r>
              <a:rPr lang="en-US"/>
              <a:t>Social Finance is </a:t>
            </a:r>
            <a:r>
              <a:rPr lang="en-US" err="1"/>
              <a:t>authorised</a:t>
            </a:r>
            <a:r>
              <a:rPr lang="en-US"/>
              <a:t> and regulated by the Financial Service Authority FSA No: 497568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1818220" y="3482976"/>
            <a:ext cx="8557680" cy="409575"/>
          </a:xfrm>
        </p:spPr>
        <p:txBody>
          <a:bodyPr>
            <a:noAutofit/>
          </a:bodyPr>
          <a:lstStyle>
            <a:lvl1pPr marL="0" algn="l" defTabSz="914400" rtl="0" eaLnBrk="1" latinLnBrk="0" hangingPunct="1">
              <a:defRPr lang="en-US" sz="2400" b="0" kern="1200" cap="all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914400" rtl="0" eaLnBrk="1" latinLnBrk="0" hangingPunct="1">
              <a:defRPr lang="en-US" sz="2400" kern="1200" cap="all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algn="l" defTabSz="914400" rtl="0" eaLnBrk="1" latinLnBrk="0" hangingPunct="1">
              <a:defRPr lang="en-US" sz="2400" kern="1200" cap="all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algn="l" defTabSz="914400" rtl="0" eaLnBrk="1" latinLnBrk="0" hangingPunct="1">
              <a:defRPr lang="en-US" sz="2400" kern="1200" cap="all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algn="l" defTabSz="914400" rtl="0" eaLnBrk="1" latinLnBrk="0" hangingPunct="1">
              <a:defRPr lang="en-US" sz="2400" kern="1200" cap="all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00 MONTH YEAR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1818220" y="4537078"/>
            <a:ext cx="8557680" cy="25824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818220" y="4757218"/>
            <a:ext cx="8557680" cy="257696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>
                <a:latin typeface="+mn-lt"/>
              </a:defRPr>
            </a:lvl1pPr>
          </a:lstStyle>
          <a:p>
            <a:pPr lvl="0"/>
            <a:r>
              <a:rPr lang="en-GB"/>
              <a:t>email</a:t>
            </a:r>
            <a:endParaRPr lang="en-US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1818220" y="4967291"/>
            <a:ext cx="8557680" cy="25824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1818220" y="5187432"/>
            <a:ext cx="8557680" cy="257696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400" b="0">
                <a:latin typeface="+mn-lt"/>
              </a:defRPr>
            </a:lvl1pPr>
          </a:lstStyle>
          <a:p>
            <a:pPr lvl="0"/>
            <a:r>
              <a:rPr lang="en-GB"/>
              <a:t>ema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1908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93285" y="1323976"/>
            <a:ext cx="10352617" cy="4802188"/>
          </a:xfrm>
        </p:spPr>
        <p:txBody>
          <a:bodyPr>
            <a:normAutofit/>
          </a:bodyPr>
          <a:lstStyle>
            <a:lvl1pPr>
              <a:spcBef>
                <a:spcPts val="1200"/>
              </a:spcBef>
              <a:buNone/>
              <a:defRPr lang="en-US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>
              <a:spcBef>
                <a:spcPts val="0"/>
              </a:spcBef>
              <a:buFont typeface="Arial" pitchFamily="34" charset="0"/>
              <a:buChar char="•"/>
              <a:defRPr sz="1400"/>
            </a:lvl2pPr>
            <a:lvl3pPr marL="460800" indent="-230400">
              <a:spcBef>
                <a:spcPts val="0"/>
              </a:spcBef>
              <a:buClrTx/>
              <a:buFont typeface="Arial" pitchFamily="34" charset="0"/>
              <a:buChar char="–"/>
              <a:defRPr sz="1400" b="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C6A4B429-0189-47CD-9DDA-A001F58C55D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5810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3287" y="431285"/>
            <a:ext cx="9730316" cy="67966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C6A4B429-0189-47CD-9DDA-A001F58C55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293285" y="1336677"/>
            <a:ext cx="10352617" cy="4797425"/>
          </a:xfrm>
        </p:spPr>
        <p:txBody>
          <a:bodyPr/>
          <a:lstStyle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82162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C6A4B429-0189-47CD-9DDA-A001F58C55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293285" y="1336677"/>
            <a:ext cx="10352617" cy="4797425"/>
          </a:xfrm>
        </p:spPr>
        <p:txBody>
          <a:bodyPr/>
          <a:lstStyle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29713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93817" y="1323975"/>
            <a:ext cx="4944000" cy="48021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01900" y="1323975"/>
            <a:ext cx="4944000" cy="48021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C6A4B429-0189-47CD-9DDA-A001F58C55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293284" y="5910486"/>
            <a:ext cx="4944533" cy="447230"/>
          </a:xfrm>
        </p:spPr>
        <p:txBody>
          <a:bodyPr anchor="b" anchorCtr="0">
            <a:normAutofit/>
          </a:bodyPr>
          <a:lstStyle>
            <a:lvl1pPr>
              <a:defRPr sz="900" b="0">
                <a:latin typeface="+mj-lt"/>
              </a:defRPr>
            </a:lvl1pPr>
          </a:lstStyle>
          <a:p>
            <a:pPr lvl="0"/>
            <a:r>
              <a:rPr lang="en-US"/>
              <a:t>Source, footnotes, dates etc.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701900" y="5910486"/>
            <a:ext cx="4944533" cy="447230"/>
          </a:xfrm>
        </p:spPr>
        <p:txBody>
          <a:bodyPr anchor="b" anchorCtr="0">
            <a:normAutofit/>
          </a:bodyPr>
          <a:lstStyle>
            <a:lvl1pPr>
              <a:defRPr sz="900" b="0">
                <a:latin typeface="+mj-lt"/>
              </a:defRPr>
            </a:lvl1pPr>
          </a:lstStyle>
          <a:p>
            <a:pPr lvl="0"/>
            <a:r>
              <a:rPr lang="en-US"/>
              <a:t>Source, footnotes, dates etc.</a:t>
            </a:r>
          </a:p>
        </p:txBody>
      </p:sp>
    </p:spTree>
    <p:extLst>
      <p:ext uri="{BB962C8B-B14F-4D97-AF65-F5344CB8AC3E}">
        <p14:creationId xmlns:p14="http://schemas.microsoft.com/office/powerpoint/2010/main" val="29143897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A48EA75-6A4A-4DAB-9671-915414ADA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408898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6" progId="TCLayout.ActiveDocument.1">
                  <p:embed/>
                </p:oleObj>
              </mc:Choice>
              <mc:Fallback>
                <p:oleObj name="think-cell Slide" r:id="rId22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A48EA75-6A4A-4DAB-9671-915414ADA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93287" y="431285"/>
            <a:ext cx="9730316" cy="67966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3285" y="1323976"/>
            <a:ext cx="10352617" cy="480218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1837" y="531920"/>
            <a:ext cx="3429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algn="r"/>
            <a:fld id="{C6A4B429-0189-47CD-9DDA-A001F58C55D3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874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spcAft>
          <a:spcPts val="0"/>
        </a:spcAft>
        <a:buClr>
          <a:schemeClr val="tx2"/>
        </a:buClr>
        <a:buSzPct val="120000"/>
        <a:buFont typeface="Arial" pitchFamily="34" charset="0"/>
        <a:buNone/>
        <a:defRPr lang="en-US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600"/>
        </a:spcBef>
        <a:buClr>
          <a:schemeClr val="tx2"/>
        </a:buClr>
        <a:buFont typeface="Cambria" pitchFamily="18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230400" indent="-230400" algn="l" defTabSz="914400" rtl="0" eaLnBrk="1" latinLnBrk="0" hangingPunct="1">
        <a:spcBef>
          <a:spcPts val="600"/>
        </a:spcBef>
        <a:buClr>
          <a:schemeClr val="tx2"/>
        </a:buClr>
        <a:buSzPct val="10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60800" indent="-228600" algn="l" defTabSz="914400" rtl="0" eaLnBrk="1" latinLnBrk="0" hangingPunct="1">
        <a:spcBef>
          <a:spcPts val="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228600" algn="l" defTabSz="914400" rtl="0" eaLnBrk="1" latinLnBrk="0" hangingPunct="1">
        <a:spcBef>
          <a:spcPts val="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2ED46A-A92E-4CA9-BE55-8F168E30A7E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GB"/>
              <a:t>High level design of the quality lac data validator</a:t>
            </a:r>
            <a:br>
              <a:rPr lang="en-GB"/>
            </a:b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D07B85-8846-4AFA-8739-78848DF53D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/>
              <a:t>Tambe Tabitha </a:t>
            </a:r>
            <a:r>
              <a:rPr lang="en-GB" err="1"/>
              <a:t>Ache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9459AA-4CCA-4C87-AD74-E3BB5F0D68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Tambe.Tabitha@socialfinance.org.uk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5B420A-B3E1-4B09-A59D-1FCD7FDE61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BC3C803-6F4C-43D5-845A-E8807731EBF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/>
              <a:t>03 MARCH 2022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40A101E-E704-C6D5-6F26-8E45C689B19F}"/>
              </a:ext>
            </a:extLst>
          </p:cNvPr>
          <p:cNvSpPr txBox="1">
            <a:spLocks/>
          </p:cNvSpPr>
          <p:nvPr/>
        </p:nvSpPr>
        <p:spPr>
          <a:xfrm>
            <a:off x="1811870" y="4534432"/>
            <a:ext cx="8557680" cy="2582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Arial" pitchFamily="34" charset="0"/>
              <a:buNone/>
              <a:defRPr lang="en-US"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Cambria" pitchFamily="18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0400" indent="-2304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SzPct val="10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08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12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ea typeface="Cambria"/>
              </a:rPr>
              <a:t>Michael </a:t>
            </a:r>
            <a:r>
              <a:rPr lang="en-GB" dirty="0" err="1">
                <a:ea typeface="Cambria"/>
              </a:rPr>
              <a:t>Ogunkolad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C729F3F-AA57-B63B-A1C3-1A07212B939F}"/>
              </a:ext>
            </a:extLst>
          </p:cNvPr>
          <p:cNvSpPr txBox="1">
            <a:spLocks/>
          </p:cNvSpPr>
          <p:nvPr/>
        </p:nvSpPr>
        <p:spPr>
          <a:xfrm>
            <a:off x="1811870" y="4754573"/>
            <a:ext cx="8557680" cy="2576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Arial" pitchFamily="34" charset="0"/>
              <a:buNone/>
              <a:defRPr lang="en-US"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Cambria" pitchFamily="18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0400" indent="-2304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SzPct val="10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08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12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Michael.Ogunkolade@socialfinance.org.uk</a:t>
            </a:r>
          </a:p>
        </p:txBody>
      </p:sp>
    </p:spTree>
    <p:extLst>
      <p:ext uri="{BB962C8B-B14F-4D97-AF65-F5344CB8AC3E}">
        <p14:creationId xmlns:p14="http://schemas.microsoft.com/office/powerpoint/2010/main" val="8755059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0F99F-0973-4CAE-A2E0-9988FF718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9819" y="3089166"/>
            <a:ext cx="9730316" cy="679668"/>
          </a:xfrm>
        </p:spPr>
        <p:txBody>
          <a:bodyPr/>
          <a:lstStyle/>
          <a:p>
            <a:r>
              <a:rPr lang="en-GB"/>
              <a:t>Overall interac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AFBC0F-F3A5-4F24-849B-0F71E4BA8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4B429-0189-47CD-9DDA-A001F58C55D3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975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A23A58-F639-4B2D-848D-97B6D6FAD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4B429-0189-47CD-9DDA-A001F58C55D3}" type="slidenum">
              <a:rPr lang="en-US" smtClean="0"/>
              <a:pPr/>
              <a:t>3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AC333BA-A072-42C0-84A9-2A42BB81A595}"/>
              </a:ext>
            </a:extLst>
          </p:cNvPr>
          <p:cNvGrpSpPr/>
          <p:nvPr/>
        </p:nvGrpSpPr>
        <p:grpSpPr>
          <a:xfrm>
            <a:off x="1742385" y="2857935"/>
            <a:ext cx="1874807" cy="1142129"/>
            <a:chOff x="2391506" y="1174653"/>
            <a:chExt cx="3502855" cy="177604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74B325D-F1E5-44AA-B515-1098A0FA0D67}"/>
                </a:ext>
              </a:extLst>
            </p:cNvPr>
            <p:cNvSpPr/>
            <p:nvPr/>
          </p:nvSpPr>
          <p:spPr>
            <a:xfrm>
              <a:off x="2391506" y="1192238"/>
              <a:ext cx="3502855" cy="1758461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>
                  <a:solidFill>
                    <a:schemeClr val="tx1"/>
                  </a:solidFill>
                </a:rPr>
                <a:t>Frontend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E47352-BC9F-4305-826B-BCD50005759B}"/>
                </a:ext>
              </a:extLst>
            </p:cNvPr>
            <p:cNvSpPr/>
            <p:nvPr/>
          </p:nvSpPr>
          <p:spPr>
            <a:xfrm>
              <a:off x="3010485" y="1174653"/>
              <a:ext cx="2264898" cy="33762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err="1">
                  <a:solidFill>
                    <a:schemeClr val="tx1"/>
                  </a:solidFill>
                </a:rPr>
                <a:t>javascript</a:t>
              </a:r>
              <a:endParaRPr lang="en-GB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35F55FE-6351-4905-82FC-CA01C42685EE}"/>
              </a:ext>
            </a:extLst>
          </p:cNvPr>
          <p:cNvGrpSpPr/>
          <p:nvPr/>
        </p:nvGrpSpPr>
        <p:grpSpPr>
          <a:xfrm>
            <a:off x="5392586" y="2857935"/>
            <a:ext cx="1874807" cy="1142129"/>
            <a:chOff x="2391506" y="1174653"/>
            <a:chExt cx="3502855" cy="177604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7EFB657-1D9A-46CE-83FB-D6D2B17AB987}"/>
                </a:ext>
              </a:extLst>
            </p:cNvPr>
            <p:cNvSpPr/>
            <p:nvPr/>
          </p:nvSpPr>
          <p:spPr>
            <a:xfrm>
              <a:off x="2391506" y="1192238"/>
              <a:ext cx="3502855" cy="1758461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>
                  <a:solidFill>
                    <a:schemeClr val="tx1"/>
                  </a:solidFill>
                </a:rPr>
                <a:t>Backend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6637FB5-FD1F-456A-BA8D-B8AE92EDE527}"/>
                </a:ext>
              </a:extLst>
            </p:cNvPr>
            <p:cNvSpPr/>
            <p:nvPr/>
          </p:nvSpPr>
          <p:spPr>
            <a:xfrm>
              <a:off x="3010485" y="1174653"/>
              <a:ext cx="2264898" cy="33762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>
                  <a:solidFill>
                    <a:schemeClr val="tx1"/>
                  </a:solidFill>
                </a:rPr>
                <a:t>python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D39E1A72-DFF9-4009-8185-3EDDBBE93DEC}"/>
              </a:ext>
            </a:extLst>
          </p:cNvPr>
          <p:cNvSpPr/>
          <p:nvPr/>
        </p:nvSpPr>
        <p:spPr>
          <a:xfrm>
            <a:off x="9180919" y="2869243"/>
            <a:ext cx="1874807" cy="1130821"/>
          </a:xfrm>
          <a:prstGeom prst="rect">
            <a:avLst/>
          </a:prstGeom>
          <a:ln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C949D83-F4DA-4E95-B615-4BC3C9E2FBB0}"/>
              </a:ext>
            </a:extLst>
          </p:cNvPr>
          <p:cNvSpPr/>
          <p:nvPr/>
        </p:nvSpPr>
        <p:spPr>
          <a:xfrm>
            <a:off x="9512210" y="3016883"/>
            <a:ext cx="1212224" cy="2171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</a:rPr>
              <a:t>postcodes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2C50AB6-96D3-403C-949D-7FF81B366FBD}"/>
              </a:ext>
            </a:extLst>
          </p:cNvPr>
          <p:cNvCxnSpPr/>
          <p:nvPr/>
        </p:nvCxnSpPr>
        <p:spPr>
          <a:xfrm>
            <a:off x="3733131" y="3187083"/>
            <a:ext cx="1398162" cy="0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1F8F595-D5DC-4CCA-82BA-6A923E9DA566}"/>
              </a:ext>
            </a:extLst>
          </p:cNvPr>
          <p:cNvCxnSpPr/>
          <p:nvPr/>
        </p:nvCxnSpPr>
        <p:spPr>
          <a:xfrm flipH="1">
            <a:off x="3733131" y="3524435"/>
            <a:ext cx="1398162" cy="0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320DDE05-4A00-4E12-B59D-D9FE782D91C0}"/>
              </a:ext>
            </a:extLst>
          </p:cNvPr>
          <p:cNvSpPr txBox="1"/>
          <p:nvPr/>
        </p:nvSpPr>
        <p:spPr>
          <a:xfrm>
            <a:off x="4173932" y="3232649"/>
            <a:ext cx="49572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/>
              <a:t>api.j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B755ADA-5FD8-4292-B623-C99BF0686324}"/>
              </a:ext>
            </a:extLst>
          </p:cNvPr>
          <p:cNvSpPr/>
          <p:nvPr/>
        </p:nvSpPr>
        <p:spPr>
          <a:xfrm>
            <a:off x="9512210" y="3437877"/>
            <a:ext cx="1212224" cy="2171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</a:rPr>
              <a:t>LA codes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084DA9C1-8AC3-4F2B-B867-AC7F156789DB}"/>
              </a:ext>
            </a:extLst>
          </p:cNvPr>
          <p:cNvCxnSpPr/>
          <p:nvPr/>
        </p:nvCxnSpPr>
        <p:spPr>
          <a:xfrm flipH="1">
            <a:off x="7421732" y="3355759"/>
            <a:ext cx="1624614" cy="0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33D66F81-CCE3-4342-A8D9-8F5077BAED09}"/>
              </a:ext>
            </a:extLst>
          </p:cNvPr>
          <p:cNvSpPr txBox="1"/>
          <p:nvPr/>
        </p:nvSpPr>
        <p:spPr>
          <a:xfrm>
            <a:off x="8012308" y="3314766"/>
            <a:ext cx="44346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err="1"/>
              <a:t>Pypi</a:t>
            </a:r>
            <a:r>
              <a:rPr lang="en-GB" sz="1600"/>
              <a:t>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90E0FB4-3A6C-4DED-99A8-B3A92E97C086}"/>
              </a:ext>
            </a:extLst>
          </p:cNvPr>
          <p:cNvSpPr txBox="1"/>
          <p:nvPr/>
        </p:nvSpPr>
        <p:spPr>
          <a:xfrm>
            <a:off x="10118322" y="3851578"/>
            <a:ext cx="93740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100"/>
              <a:t>Reference data</a:t>
            </a:r>
          </a:p>
        </p:txBody>
      </p:sp>
    </p:spTree>
    <p:extLst>
      <p:ext uri="{BB962C8B-B14F-4D97-AF65-F5344CB8AC3E}">
        <p14:creationId xmlns:p14="http://schemas.microsoft.com/office/powerpoint/2010/main" val="17804213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0F99F-0973-4CAE-A2E0-9988FF718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9819" y="3089166"/>
            <a:ext cx="9730316" cy="679668"/>
          </a:xfrm>
        </p:spPr>
        <p:txBody>
          <a:bodyPr/>
          <a:lstStyle/>
          <a:p>
            <a:r>
              <a:rPr lang="en-GB"/>
              <a:t>High level design of specific par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AFBC0F-F3A5-4F24-849B-0F71E4BA8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4B429-0189-47CD-9DDA-A001F58C55D3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9223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6C82E-7AE4-4BD5-A34D-2D64A00BA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3287" y="431285"/>
            <a:ext cx="9730316" cy="365125"/>
          </a:xfrm>
        </p:spPr>
        <p:txBody>
          <a:bodyPr/>
          <a:lstStyle/>
          <a:p>
            <a:r>
              <a:rPr lang="en-GB"/>
              <a:t>The Fronten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6B9044-531B-432D-9C8B-2597AC5930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4B429-0189-47CD-9DDA-A001F58C55D3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A1B734A-E3C8-4A9B-A618-C935A7359C68}"/>
              </a:ext>
            </a:extLst>
          </p:cNvPr>
          <p:cNvSpPr/>
          <p:nvPr/>
        </p:nvSpPr>
        <p:spPr>
          <a:xfrm>
            <a:off x="2171148" y="1524332"/>
            <a:ext cx="1417792" cy="5740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</a:rPr>
              <a:t>validat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B9101F1-89C8-473B-BD0A-BD79B1E87319}"/>
              </a:ext>
            </a:extLst>
          </p:cNvPr>
          <p:cNvGrpSpPr/>
          <p:nvPr/>
        </p:nvGrpSpPr>
        <p:grpSpPr>
          <a:xfrm>
            <a:off x="3588940" y="3699491"/>
            <a:ext cx="1874807" cy="1142129"/>
            <a:chOff x="2391506" y="1174653"/>
            <a:chExt cx="3502855" cy="1776046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2881626-DB53-4013-8BC4-35C17269F9AD}"/>
                </a:ext>
              </a:extLst>
            </p:cNvPr>
            <p:cNvSpPr/>
            <p:nvPr/>
          </p:nvSpPr>
          <p:spPr>
            <a:xfrm>
              <a:off x="2391506" y="1192238"/>
              <a:ext cx="3502855" cy="1758461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>
                  <a:solidFill>
                    <a:schemeClr val="tx1"/>
                  </a:solidFill>
                </a:rPr>
                <a:t>Download CSV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174C9C0-28D7-4CC4-A07A-9B7892483194}"/>
                </a:ext>
              </a:extLst>
            </p:cNvPr>
            <p:cNvSpPr/>
            <p:nvPr/>
          </p:nvSpPr>
          <p:spPr>
            <a:xfrm>
              <a:off x="3010485" y="1174653"/>
              <a:ext cx="2264898" cy="33762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9AA8BB2-0242-4A16-9FDF-E8A8DEC54EBA}"/>
              </a:ext>
            </a:extLst>
          </p:cNvPr>
          <p:cNvGrpSpPr/>
          <p:nvPr/>
        </p:nvGrpSpPr>
        <p:grpSpPr>
          <a:xfrm>
            <a:off x="5735957" y="3699491"/>
            <a:ext cx="1874807" cy="1130821"/>
            <a:chOff x="2402451" y="1174655"/>
            <a:chExt cx="3502855" cy="179362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BABE523-151B-4BAB-9F5C-F8E08CEFF5EC}"/>
                </a:ext>
              </a:extLst>
            </p:cNvPr>
            <p:cNvSpPr/>
            <p:nvPr/>
          </p:nvSpPr>
          <p:spPr>
            <a:xfrm>
              <a:off x="2402451" y="1209823"/>
              <a:ext cx="3502855" cy="1758460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GB">
                  <a:solidFill>
                    <a:schemeClr val="tx1"/>
                  </a:solidFill>
                </a:rPr>
                <a:t>Error reports</a:t>
              </a:r>
              <a:endParaRPr lang="en-GB">
                <a:solidFill>
                  <a:schemeClr val="tx1"/>
                </a:solidFill>
                <a:ea typeface="Cambria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9F3E8E9-4D97-4158-932C-AE501975DA7B}"/>
                </a:ext>
              </a:extLst>
            </p:cNvPr>
            <p:cNvSpPr/>
            <p:nvPr/>
          </p:nvSpPr>
          <p:spPr>
            <a:xfrm>
              <a:off x="3021429" y="1174655"/>
              <a:ext cx="2264897" cy="33762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6EDD3A8F-23ED-4FF5-97E4-F6374519851A}"/>
              </a:ext>
            </a:extLst>
          </p:cNvPr>
          <p:cNvSpPr/>
          <p:nvPr/>
        </p:nvSpPr>
        <p:spPr>
          <a:xfrm>
            <a:off x="2106093" y="1197485"/>
            <a:ext cx="5770485" cy="3738499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A79DB6C-FAA8-417F-ACE4-4ED74C535AD1}"/>
              </a:ext>
            </a:extLst>
          </p:cNvPr>
          <p:cNvSpPr/>
          <p:nvPr/>
        </p:nvSpPr>
        <p:spPr>
          <a:xfrm>
            <a:off x="5109087" y="1641716"/>
            <a:ext cx="1417792" cy="342257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Files are converted to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D763C84-B0AA-4C3B-AF54-F578B806B1CB}"/>
              </a:ext>
            </a:extLst>
          </p:cNvPr>
          <p:cNvSpPr/>
          <p:nvPr/>
        </p:nvSpPr>
        <p:spPr>
          <a:xfrm>
            <a:off x="8466834" y="2089534"/>
            <a:ext cx="2556769" cy="9587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Backend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AE21C58F-6BF1-445A-A4E7-BAFD151C04AD}"/>
              </a:ext>
            </a:extLst>
          </p:cNvPr>
          <p:cNvCxnSpPr>
            <a:cxnSpLocks/>
            <a:stCxn id="24" idx="3"/>
            <a:endCxn id="30" idx="0"/>
          </p:cNvCxnSpPr>
          <p:nvPr/>
        </p:nvCxnSpPr>
        <p:spPr>
          <a:xfrm>
            <a:off x="6526879" y="1812845"/>
            <a:ext cx="3218340" cy="276689"/>
          </a:xfrm>
          <a:prstGeom prst="bentConnector2">
            <a:avLst/>
          </a:prstGeom>
          <a:ln w="412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A46FB048-479D-47B9-AD9F-FEE7929E16BE}"/>
              </a:ext>
            </a:extLst>
          </p:cNvPr>
          <p:cNvCxnSpPr>
            <a:cxnSpLocks/>
          </p:cNvCxnSpPr>
          <p:nvPr/>
        </p:nvCxnSpPr>
        <p:spPr>
          <a:xfrm rot="5400000">
            <a:off x="7896714" y="1814851"/>
            <a:ext cx="609132" cy="3087876"/>
          </a:xfrm>
          <a:prstGeom prst="bentConnector3">
            <a:avLst/>
          </a:prstGeom>
          <a:ln w="412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4F49B14D-18C8-4627-9DE5-362D92A20020}"/>
              </a:ext>
            </a:extLst>
          </p:cNvPr>
          <p:cNvCxnSpPr>
            <a:cxnSpLocks/>
          </p:cNvCxnSpPr>
          <p:nvPr/>
        </p:nvCxnSpPr>
        <p:spPr>
          <a:xfrm rot="10800000" flipV="1">
            <a:off x="4458279" y="3359072"/>
            <a:ext cx="2528433" cy="326455"/>
          </a:xfrm>
          <a:prstGeom prst="bentConnector2">
            <a:avLst/>
          </a:prstGeom>
          <a:ln w="412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2825FDB1-9EF7-4511-8BBD-AD77BCE427EE}"/>
              </a:ext>
            </a:extLst>
          </p:cNvPr>
          <p:cNvCxnSpPr>
            <a:cxnSpLocks/>
            <a:stCxn id="7" idx="3"/>
            <a:endCxn id="24" idx="1"/>
          </p:cNvCxnSpPr>
          <p:nvPr/>
        </p:nvCxnSpPr>
        <p:spPr>
          <a:xfrm>
            <a:off x="3588940" y="1811355"/>
            <a:ext cx="1520147" cy="1490"/>
          </a:xfrm>
          <a:prstGeom prst="bentConnector3">
            <a:avLst/>
          </a:prstGeom>
          <a:ln w="412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Arrow: Down 45">
            <a:extLst>
              <a:ext uri="{FF2B5EF4-FFF2-40B4-BE49-F238E27FC236}">
                <a16:creationId xmlns:a16="http://schemas.microsoft.com/office/drawing/2014/main" id="{B507FF47-FCA8-4239-BDCD-FCB60B1ADDCD}"/>
              </a:ext>
            </a:extLst>
          </p:cNvPr>
          <p:cNvSpPr/>
          <p:nvPr/>
        </p:nvSpPr>
        <p:spPr>
          <a:xfrm flipV="1">
            <a:off x="2646164" y="4830312"/>
            <a:ext cx="402705" cy="91947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9" name="Arrow: Down 48">
            <a:extLst>
              <a:ext uri="{FF2B5EF4-FFF2-40B4-BE49-F238E27FC236}">
                <a16:creationId xmlns:a16="http://schemas.microsoft.com/office/drawing/2014/main" id="{48E33CB6-272E-456F-A2AF-92E3CBEF14CC}"/>
              </a:ext>
            </a:extLst>
          </p:cNvPr>
          <p:cNvSpPr/>
          <p:nvPr/>
        </p:nvSpPr>
        <p:spPr>
          <a:xfrm>
            <a:off x="4300755" y="4852928"/>
            <a:ext cx="402705" cy="91947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Arrow: Down 49">
            <a:extLst>
              <a:ext uri="{FF2B5EF4-FFF2-40B4-BE49-F238E27FC236}">
                <a16:creationId xmlns:a16="http://schemas.microsoft.com/office/drawing/2014/main" id="{BFA459C3-F2B1-42D9-B6A8-ED2F726FA345}"/>
              </a:ext>
            </a:extLst>
          </p:cNvPr>
          <p:cNvSpPr/>
          <p:nvPr/>
        </p:nvSpPr>
        <p:spPr>
          <a:xfrm>
            <a:off x="6472007" y="4838559"/>
            <a:ext cx="402705" cy="91947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B2EF4F46-8696-4E5B-BDD5-114A6EBBA7F7}"/>
              </a:ext>
            </a:extLst>
          </p:cNvPr>
          <p:cNvCxnSpPr>
            <a:stCxn id="46" idx="2"/>
            <a:endCxn id="7" idx="2"/>
          </p:cNvCxnSpPr>
          <p:nvPr/>
        </p:nvCxnSpPr>
        <p:spPr>
          <a:xfrm flipV="1">
            <a:off x="2847517" y="2098378"/>
            <a:ext cx="32527" cy="2731934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5B3E4054-DA46-485D-99F9-4134A28A3547}"/>
              </a:ext>
            </a:extLst>
          </p:cNvPr>
          <p:cNvSpPr/>
          <p:nvPr/>
        </p:nvSpPr>
        <p:spPr>
          <a:xfrm>
            <a:off x="2280932" y="2990981"/>
            <a:ext cx="1198223" cy="473364"/>
          </a:xfrm>
          <a:prstGeom prst="rect">
            <a:avLst/>
          </a:prstGeom>
          <a:solidFill>
            <a:schemeClr val="bg2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csv or xml files from user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98C2F7B-9F89-48B1-8070-DD3B284FA437}"/>
              </a:ext>
            </a:extLst>
          </p:cNvPr>
          <p:cNvSpPr/>
          <p:nvPr/>
        </p:nvSpPr>
        <p:spPr>
          <a:xfrm>
            <a:off x="2618878" y="5969530"/>
            <a:ext cx="4744913" cy="6648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USER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57349891-E254-4F35-91A5-10C3CF886CE6}"/>
              </a:ext>
            </a:extLst>
          </p:cNvPr>
          <p:cNvSpPr/>
          <p:nvPr/>
        </p:nvSpPr>
        <p:spPr>
          <a:xfrm>
            <a:off x="7097979" y="3193391"/>
            <a:ext cx="1417792" cy="342257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Text is converted to file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B7E25739-8DAA-4DD6-B5DC-1F0DDE8BD710}"/>
              </a:ext>
            </a:extLst>
          </p:cNvPr>
          <p:cNvSpPr txBox="1"/>
          <p:nvPr/>
        </p:nvSpPr>
        <p:spPr>
          <a:xfrm>
            <a:off x="9157723" y="4346116"/>
            <a:ext cx="228025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>
                <a:solidFill>
                  <a:srgbClr val="F07F13"/>
                </a:solidFill>
              </a:rPr>
              <a:t>There is no logic in the frontend of the tool.</a:t>
            </a:r>
          </a:p>
        </p:txBody>
      </p:sp>
    </p:spTree>
    <p:extLst>
      <p:ext uri="{BB962C8B-B14F-4D97-AF65-F5344CB8AC3E}">
        <p14:creationId xmlns:p14="http://schemas.microsoft.com/office/powerpoint/2010/main" val="35512271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6C82E-7AE4-4BD5-A34D-2D64A00BA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3287" y="431285"/>
            <a:ext cx="9730316" cy="365125"/>
          </a:xfrm>
        </p:spPr>
        <p:txBody>
          <a:bodyPr/>
          <a:lstStyle/>
          <a:p>
            <a:r>
              <a:rPr lang="en-GB"/>
              <a:t>The 903 validator too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6B9044-531B-432D-9C8B-2597AC5930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4B429-0189-47CD-9DDA-A001F58C55D3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09ED06CD-F9E3-4FE3-A478-6E91FDB32D94}"/>
              </a:ext>
            </a:extLst>
          </p:cNvPr>
          <p:cNvSpPr/>
          <p:nvPr/>
        </p:nvSpPr>
        <p:spPr>
          <a:xfrm>
            <a:off x="407962" y="1209821"/>
            <a:ext cx="1885072" cy="175846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</a:rPr>
              <a:t>From Frontend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ECC0555-2142-4E9F-8684-69E0734F0A63}"/>
              </a:ext>
            </a:extLst>
          </p:cNvPr>
          <p:cNvGrpSpPr/>
          <p:nvPr/>
        </p:nvGrpSpPr>
        <p:grpSpPr>
          <a:xfrm>
            <a:off x="2391507" y="1174653"/>
            <a:ext cx="3502855" cy="1793630"/>
            <a:chOff x="2391507" y="1174653"/>
            <a:chExt cx="3502855" cy="179363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52AA61E-2A3E-4E0C-BFB3-78B669CA63DB}"/>
                </a:ext>
              </a:extLst>
            </p:cNvPr>
            <p:cNvSpPr/>
            <p:nvPr/>
          </p:nvSpPr>
          <p:spPr>
            <a:xfrm>
              <a:off x="2391507" y="1209822"/>
              <a:ext cx="3502855" cy="1758461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GB">
                  <a:solidFill>
                    <a:schemeClr val="tx1"/>
                  </a:solidFill>
                </a:rPr>
                <a:t>Detect format of raw files (csv or xml).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GB">
                  <a:solidFill>
                    <a:schemeClr val="tx1"/>
                  </a:solidFill>
                </a:rPr>
                <a:t>Read files into a dictionary of DataFrames (</a:t>
              </a:r>
              <a:r>
                <a:rPr lang="en-GB">
                  <a:solidFill>
                    <a:schemeClr val="tx2"/>
                  </a:solidFill>
                </a:rPr>
                <a:t>data</a:t>
              </a:r>
              <a:r>
                <a:rPr lang="en-GB">
                  <a:solidFill>
                    <a:schemeClr val="tx1"/>
                  </a:solidFill>
                </a:rPr>
                <a:t>).</a:t>
              </a:r>
              <a:endParaRPr lang="en-GB">
                <a:solidFill>
                  <a:schemeClr val="tx1"/>
                </a:solidFill>
                <a:ea typeface="Cambria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A1B734A-E3C8-4A9B-A618-C935A7359C68}"/>
                </a:ext>
              </a:extLst>
            </p:cNvPr>
            <p:cNvSpPr/>
            <p:nvPr/>
          </p:nvSpPr>
          <p:spPr>
            <a:xfrm>
              <a:off x="3010485" y="1174653"/>
              <a:ext cx="2264898" cy="33762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>
                  <a:solidFill>
                    <a:schemeClr val="tx1"/>
                  </a:solidFill>
                </a:rPr>
                <a:t>ingress.p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EB9101F1-89C8-473B-BD0A-BD79B1E87319}"/>
              </a:ext>
            </a:extLst>
          </p:cNvPr>
          <p:cNvGrpSpPr/>
          <p:nvPr/>
        </p:nvGrpSpPr>
        <p:grpSpPr>
          <a:xfrm>
            <a:off x="6916618" y="1192237"/>
            <a:ext cx="3502855" cy="1776046"/>
            <a:chOff x="2391506" y="1174653"/>
            <a:chExt cx="3502855" cy="1776046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2881626-DB53-4013-8BC4-35C17269F9AD}"/>
                </a:ext>
              </a:extLst>
            </p:cNvPr>
            <p:cNvSpPr/>
            <p:nvPr/>
          </p:nvSpPr>
          <p:spPr>
            <a:xfrm>
              <a:off x="2391506" y="1192238"/>
              <a:ext cx="3502855" cy="1758461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GB">
                  <a:solidFill>
                    <a:schemeClr val="tx1"/>
                  </a:solidFill>
                </a:rPr>
                <a:t>Enrich </a:t>
              </a:r>
              <a:r>
                <a:rPr lang="en-GB">
                  <a:solidFill>
                    <a:schemeClr val="tx2"/>
                  </a:solidFill>
                </a:rPr>
                <a:t>data</a:t>
              </a:r>
              <a:r>
                <a:rPr lang="en-GB">
                  <a:solidFill>
                    <a:schemeClr val="tx1"/>
                  </a:solidFill>
                </a:rPr>
                <a:t> with derived fields computed from the values provided by the user.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174C9C0-28D7-4CC4-A07A-9B7892483194}"/>
                </a:ext>
              </a:extLst>
            </p:cNvPr>
            <p:cNvSpPr/>
            <p:nvPr/>
          </p:nvSpPr>
          <p:spPr>
            <a:xfrm>
              <a:off x="3010485" y="1174653"/>
              <a:ext cx="2264898" cy="33762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>
                  <a:solidFill>
                    <a:schemeClr val="tx1"/>
                  </a:solidFill>
                </a:rPr>
                <a:t>datastore.py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9AA8BB2-0242-4A16-9FDF-E8A8DEC54EBA}"/>
              </a:ext>
            </a:extLst>
          </p:cNvPr>
          <p:cNvGrpSpPr/>
          <p:nvPr/>
        </p:nvGrpSpPr>
        <p:grpSpPr>
          <a:xfrm>
            <a:off x="7031501" y="3854548"/>
            <a:ext cx="3502855" cy="1793630"/>
            <a:chOff x="2391507" y="1174653"/>
            <a:chExt cx="3502855" cy="179363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BABE523-151B-4BAB-9F5C-F8E08CEFF5EC}"/>
                </a:ext>
              </a:extLst>
            </p:cNvPr>
            <p:cNvSpPr/>
            <p:nvPr/>
          </p:nvSpPr>
          <p:spPr>
            <a:xfrm>
              <a:off x="2391507" y="1209822"/>
              <a:ext cx="3502855" cy="1758461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GB">
                  <a:solidFill>
                    <a:schemeClr val="tx1"/>
                  </a:solidFill>
                </a:rPr>
                <a:t>Run all configured validation rules on data.</a:t>
              </a:r>
            </a:p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GB">
                  <a:solidFill>
                    <a:schemeClr val="tx1"/>
                  </a:solidFill>
                </a:rPr>
                <a:t>Track rules that failed, passed or were skipped.</a:t>
              </a:r>
              <a:endParaRPr lang="en-GB">
                <a:solidFill>
                  <a:schemeClr val="tx1"/>
                </a:solidFill>
                <a:ea typeface="Cambria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9F3E8E9-4D97-4158-932C-AE501975DA7B}"/>
                </a:ext>
              </a:extLst>
            </p:cNvPr>
            <p:cNvSpPr/>
            <p:nvPr/>
          </p:nvSpPr>
          <p:spPr>
            <a:xfrm>
              <a:off x="3010485" y="1174653"/>
              <a:ext cx="2264898" cy="33762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>
                  <a:solidFill>
                    <a:schemeClr val="tx1"/>
                  </a:solidFill>
                </a:rPr>
                <a:t>validators.py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986BB13-5018-4F96-A522-AC1B3082A609}"/>
              </a:ext>
            </a:extLst>
          </p:cNvPr>
          <p:cNvGrpSpPr/>
          <p:nvPr/>
        </p:nvGrpSpPr>
        <p:grpSpPr>
          <a:xfrm>
            <a:off x="2391507" y="3872132"/>
            <a:ext cx="3502855" cy="1793630"/>
            <a:chOff x="2391507" y="1174653"/>
            <a:chExt cx="3502855" cy="179363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42708BA-D49C-42D0-916C-204A44E0B75E}"/>
                </a:ext>
              </a:extLst>
            </p:cNvPr>
            <p:cNvSpPr/>
            <p:nvPr/>
          </p:nvSpPr>
          <p:spPr>
            <a:xfrm>
              <a:off x="2391507" y="1209822"/>
              <a:ext cx="3502855" cy="1758461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285750" indent="-285750" algn="ctr">
                <a:buFont typeface="Arial" panose="020B0604020202020204" pitchFamily="34" charset="0"/>
                <a:buChar char="•"/>
              </a:pPr>
              <a:r>
                <a:rPr lang="en-GB">
                  <a:solidFill>
                    <a:schemeClr val="tx1"/>
                  </a:solidFill>
                </a:rPr>
                <a:t>Generate and populate excel documents that show results of validation.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9961AC3-7944-43EE-958C-E8CB9359FDFA}"/>
                </a:ext>
              </a:extLst>
            </p:cNvPr>
            <p:cNvSpPr/>
            <p:nvPr/>
          </p:nvSpPr>
          <p:spPr>
            <a:xfrm>
              <a:off x="3010485" y="1174653"/>
              <a:ext cx="2264898" cy="33762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>
                  <a:solidFill>
                    <a:schemeClr val="tx1"/>
                  </a:solidFill>
                </a:rPr>
                <a:t>report.py</a:t>
              </a:r>
            </a:p>
          </p:txBody>
        </p:sp>
      </p:grpSp>
      <p:sp>
        <p:nvSpPr>
          <p:cNvPr id="21" name="Arrow: Left 20">
            <a:extLst>
              <a:ext uri="{FF2B5EF4-FFF2-40B4-BE49-F238E27FC236}">
                <a16:creationId xmlns:a16="http://schemas.microsoft.com/office/drawing/2014/main" id="{1251C7DD-D547-4D21-B839-3E894215252C}"/>
              </a:ext>
            </a:extLst>
          </p:cNvPr>
          <p:cNvSpPr/>
          <p:nvPr/>
        </p:nvSpPr>
        <p:spPr>
          <a:xfrm>
            <a:off x="407962" y="3907301"/>
            <a:ext cx="1885072" cy="186045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</a:rPr>
              <a:t>To Frontend</a:t>
            </a:r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A97E85BE-216B-4D83-A99B-DDB19540164E}"/>
              </a:ext>
            </a:extLst>
          </p:cNvPr>
          <p:cNvSpPr/>
          <p:nvPr/>
        </p:nvSpPr>
        <p:spPr>
          <a:xfrm>
            <a:off x="5894362" y="1842868"/>
            <a:ext cx="1022256" cy="3651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Arrow: Left 22">
            <a:extLst>
              <a:ext uri="{FF2B5EF4-FFF2-40B4-BE49-F238E27FC236}">
                <a16:creationId xmlns:a16="http://schemas.microsoft.com/office/drawing/2014/main" id="{63D5DEA9-07B1-4BF9-9D35-BE2C0039926C}"/>
              </a:ext>
            </a:extLst>
          </p:cNvPr>
          <p:cNvSpPr/>
          <p:nvPr/>
        </p:nvSpPr>
        <p:spPr>
          <a:xfrm>
            <a:off x="5894362" y="4640586"/>
            <a:ext cx="1137139" cy="37950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EDD3A8F-23ED-4FF5-97E4-F6374519851A}"/>
              </a:ext>
            </a:extLst>
          </p:cNvPr>
          <p:cNvSpPr/>
          <p:nvPr/>
        </p:nvSpPr>
        <p:spPr>
          <a:xfrm>
            <a:off x="2293035" y="897044"/>
            <a:ext cx="9331702" cy="5320875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6391084-ACE7-4427-8682-FBF28849EF96}"/>
              </a:ext>
            </a:extLst>
          </p:cNvPr>
          <p:cNvSpPr txBox="1"/>
          <p:nvPr/>
        </p:nvSpPr>
        <p:spPr>
          <a:xfrm>
            <a:off x="5584873" y="3291444"/>
            <a:ext cx="175611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400"/>
              <a:t>validator.py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BC782747-5BC8-4363-88D5-35CD837544A0}"/>
              </a:ext>
            </a:extLst>
          </p:cNvPr>
          <p:cNvCxnSpPr>
            <a:cxnSpLocks/>
          </p:cNvCxnSpPr>
          <p:nvPr/>
        </p:nvCxnSpPr>
        <p:spPr>
          <a:xfrm>
            <a:off x="10431195" y="2106636"/>
            <a:ext cx="114883" cy="2679895"/>
          </a:xfrm>
          <a:prstGeom prst="bentConnector3">
            <a:avLst>
              <a:gd name="adj1" fmla="val 796957"/>
            </a:avLst>
          </a:prstGeom>
          <a:ln w="187325"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4F03C0A7-75F5-448D-A32B-241A687F01E1}"/>
              </a:ext>
            </a:extLst>
          </p:cNvPr>
          <p:cNvSpPr txBox="1"/>
          <p:nvPr/>
        </p:nvSpPr>
        <p:spPr>
          <a:xfrm>
            <a:off x="4050327" y="5856696"/>
            <a:ext cx="573258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>
                <a:solidFill>
                  <a:srgbClr val="F07F13"/>
                </a:solidFill>
              </a:rPr>
              <a:t>validator.py is the main file from which all the other files are run.</a:t>
            </a:r>
          </a:p>
        </p:txBody>
      </p:sp>
    </p:spTree>
    <p:extLst>
      <p:ext uri="{BB962C8B-B14F-4D97-AF65-F5344CB8AC3E}">
        <p14:creationId xmlns:p14="http://schemas.microsoft.com/office/powerpoint/2010/main" val="15099038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0F99F-0973-4CAE-A2E0-9988FF718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9819" y="3089166"/>
            <a:ext cx="9730316" cy="679668"/>
          </a:xfrm>
        </p:spPr>
        <p:txBody>
          <a:bodyPr/>
          <a:lstStyle/>
          <a:p>
            <a:r>
              <a:rPr lang="en-GB"/>
              <a:t>Reference data used in the too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AFBC0F-F3A5-4F24-849B-0F71E4BA8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4B429-0189-47CD-9DDA-A001F58C55D3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5403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6C82E-7AE4-4BD5-A34D-2D64A00BA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236" y="431285"/>
            <a:ext cx="10506367" cy="365125"/>
          </a:xfrm>
        </p:spPr>
        <p:txBody>
          <a:bodyPr/>
          <a:lstStyle/>
          <a:p>
            <a:r>
              <a:rPr lang="en-GB"/>
              <a:t>postcod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6B9044-531B-432D-9C8B-2597AC5930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4B429-0189-47CD-9DDA-A001F58C55D3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EDD3A8F-23ED-4FF5-97E4-F6374519851A}"/>
              </a:ext>
            </a:extLst>
          </p:cNvPr>
          <p:cNvSpPr/>
          <p:nvPr/>
        </p:nvSpPr>
        <p:spPr>
          <a:xfrm>
            <a:off x="517236" y="3077944"/>
            <a:ext cx="11107501" cy="187274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1359E0D-2283-41CA-AE60-A69AD85E35BC}"/>
              </a:ext>
            </a:extLst>
          </p:cNvPr>
          <p:cNvSpPr/>
          <p:nvPr/>
        </p:nvSpPr>
        <p:spPr>
          <a:xfrm>
            <a:off x="3237715" y="5761874"/>
            <a:ext cx="4744913" cy="6648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developer</a:t>
            </a: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F6627712-E2D1-4179-AFA9-B41BCB22C138}"/>
              </a:ext>
            </a:extLst>
          </p:cNvPr>
          <p:cNvSpPr/>
          <p:nvPr/>
        </p:nvSpPr>
        <p:spPr>
          <a:xfrm flipV="1">
            <a:off x="5487558" y="4518294"/>
            <a:ext cx="245224" cy="1257071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4071156-CAF4-43BA-BAB6-82CEC52518DF}"/>
              </a:ext>
            </a:extLst>
          </p:cNvPr>
          <p:cNvSpPr/>
          <p:nvPr/>
        </p:nvSpPr>
        <p:spPr>
          <a:xfrm>
            <a:off x="623688" y="3502297"/>
            <a:ext cx="2528147" cy="102404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600">
                <a:solidFill>
                  <a:schemeClr val="tx1"/>
                </a:solidFill>
              </a:rPr>
              <a:t>Creates postcode dataset from source.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9722221-0211-413F-999C-09E223DF5B74}"/>
              </a:ext>
            </a:extLst>
          </p:cNvPr>
          <p:cNvSpPr/>
          <p:nvPr/>
        </p:nvSpPr>
        <p:spPr>
          <a:xfrm>
            <a:off x="623687" y="3502297"/>
            <a:ext cx="2528148" cy="291665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</a:rPr>
              <a:t>bin/generate-output-files.p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1E2AB75-578B-480A-B0E9-126D14491DDE}"/>
              </a:ext>
            </a:extLst>
          </p:cNvPr>
          <p:cNvSpPr/>
          <p:nvPr/>
        </p:nvSpPr>
        <p:spPr>
          <a:xfrm>
            <a:off x="4180381" y="5146830"/>
            <a:ext cx="3042455" cy="4064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new postcode distribution zip file downloaded from website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E3D55FBF-473E-4279-B394-76CBCFCC416C}"/>
              </a:ext>
            </a:extLst>
          </p:cNvPr>
          <p:cNvCxnSpPr>
            <a:cxnSpLocks/>
            <a:stCxn id="29" idx="3"/>
          </p:cNvCxnSpPr>
          <p:nvPr/>
        </p:nvCxnSpPr>
        <p:spPr>
          <a:xfrm flipV="1">
            <a:off x="3151835" y="3992782"/>
            <a:ext cx="4830791" cy="21536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3">
            <a:extLst>
              <a:ext uri="{FF2B5EF4-FFF2-40B4-BE49-F238E27FC236}">
                <a16:creationId xmlns:a16="http://schemas.microsoft.com/office/drawing/2014/main" id="{565AF313-2C5E-4637-A24A-6385F7D88342}"/>
              </a:ext>
            </a:extLst>
          </p:cNvPr>
          <p:cNvSpPr/>
          <p:nvPr/>
        </p:nvSpPr>
        <p:spPr>
          <a:xfrm>
            <a:off x="4617261" y="3480762"/>
            <a:ext cx="1985818" cy="102404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2"/>
                </a:solidFill>
              </a:rPr>
              <a:t>source</a:t>
            </a:r>
            <a:r>
              <a:rPr lang="en-GB">
                <a:solidFill>
                  <a:schemeClr val="tx1"/>
                </a:solidFill>
              </a:rPr>
              <a:t> </a:t>
            </a:r>
            <a:r>
              <a:rPr lang="en-GB" sz="800" i="1">
                <a:solidFill>
                  <a:schemeClr val="tx1"/>
                </a:solidFill>
              </a:rPr>
              <a:t>folder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D37ACA4-49E7-4415-95AB-913333826D6D}"/>
              </a:ext>
            </a:extLst>
          </p:cNvPr>
          <p:cNvSpPr/>
          <p:nvPr/>
        </p:nvSpPr>
        <p:spPr>
          <a:xfrm>
            <a:off x="9174181" y="1065321"/>
            <a:ext cx="1849422" cy="699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err="1"/>
              <a:t>Github</a:t>
            </a:r>
            <a:endParaRPr lang="en-GB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7FC1D73-5CA8-4DED-924C-CFD6C76F5CE8}"/>
              </a:ext>
            </a:extLst>
          </p:cNvPr>
          <p:cNvSpPr/>
          <p:nvPr/>
        </p:nvSpPr>
        <p:spPr>
          <a:xfrm>
            <a:off x="7987902" y="3167162"/>
            <a:ext cx="3035701" cy="165124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  <a:p>
            <a:pPr algn="ctr"/>
            <a:r>
              <a:rPr lang="en-GB" sz="1600">
                <a:solidFill>
                  <a:schemeClr val="tx1"/>
                </a:solidFill>
              </a:rPr>
              <a:t>Pickled </a:t>
            </a:r>
            <a:r>
              <a:rPr lang="en-GB" sz="1600" err="1">
                <a:solidFill>
                  <a:schemeClr val="tx1"/>
                </a:solidFill>
              </a:rPr>
              <a:t>DataFrames</a:t>
            </a:r>
            <a:r>
              <a:rPr lang="en-GB" sz="1600">
                <a:solidFill>
                  <a:schemeClr val="tx1"/>
                </a:solidFill>
              </a:rPr>
              <a:t>: output files reproduced for every letter of the alphabet.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DF44A71-EA9D-4920-AB2C-30258199DD92}"/>
              </a:ext>
            </a:extLst>
          </p:cNvPr>
          <p:cNvSpPr/>
          <p:nvPr/>
        </p:nvSpPr>
        <p:spPr>
          <a:xfrm>
            <a:off x="7987901" y="3167160"/>
            <a:ext cx="3035702" cy="470302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err="1">
                <a:solidFill>
                  <a:schemeClr val="tx1"/>
                </a:solidFill>
              </a:rPr>
              <a:t>qlacref_postcodes</a:t>
            </a:r>
            <a:r>
              <a:rPr lang="en-GB" sz="1400">
                <a:solidFill>
                  <a:schemeClr val="tx1"/>
                </a:solidFill>
              </a:rPr>
              <a:t> </a:t>
            </a:r>
            <a:r>
              <a:rPr lang="en-GB" sz="600" i="1">
                <a:solidFill>
                  <a:schemeClr val="tx1"/>
                </a:solidFill>
              </a:rPr>
              <a:t>folder</a:t>
            </a:r>
            <a:r>
              <a:rPr lang="en-GB" sz="6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E36B888-8337-4D23-82AF-B8E84FDB3EE0}"/>
              </a:ext>
            </a:extLst>
          </p:cNvPr>
          <p:cNvSpPr txBox="1"/>
          <p:nvPr/>
        </p:nvSpPr>
        <p:spPr>
          <a:xfrm>
            <a:off x="124287" y="6622742"/>
            <a:ext cx="311342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i="1"/>
              <a:t>The shapes used in this demonstration have no particular meaning.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CB00627-9CD3-4CDF-ADDA-D0438451D6F0}"/>
              </a:ext>
            </a:extLst>
          </p:cNvPr>
          <p:cNvSpPr txBox="1"/>
          <p:nvPr/>
        </p:nvSpPr>
        <p:spPr>
          <a:xfrm>
            <a:off x="852256" y="1402672"/>
            <a:ext cx="316045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>
                <a:solidFill>
                  <a:srgbClr val="F07F13"/>
                </a:solidFill>
              </a:rPr>
              <a:t>Pickled </a:t>
            </a:r>
            <a:r>
              <a:rPr lang="en-GB" sz="1600" err="1">
                <a:solidFill>
                  <a:srgbClr val="F07F13"/>
                </a:solidFill>
              </a:rPr>
              <a:t>DataFrames</a:t>
            </a:r>
            <a:r>
              <a:rPr lang="en-GB" sz="1600">
                <a:solidFill>
                  <a:srgbClr val="F07F13"/>
                </a:solidFill>
              </a:rPr>
              <a:t> are used for faster load times.</a:t>
            </a:r>
          </a:p>
        </p:txBody>
      </p:sp>
      <p:sp>
        <p:nvSpPr>
          <p:cNvPr id="68" name="Arrow: Up 67">
            <a:extLst>
              <a:ext uri="{FF2B5EF4-FFF2-40B4-BE49-F238E27FC236}">
                <a16:creationId xmlns:a16="http://schemas.microsoft.com/office/drawing/2014/main" id="{699265A9-3F2D-49F1-A541-EB433636A4D1}"/>
              </a:ext>
            </a:extLst>
          </p:cNvPr>
          <p:cNvSpPr/>
          <p:nvPr/>
        </p:nvSpPr>
        <p:spPr>
          <a:xfrm>
            <a:off x="9827581" y="1815420"/>
            <a:ext cx="568170" cy="1262523"/>
          </a:xfrm>
          <a:prstGeom prst="upArrow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B5509A0-D442-41AA-B405-F488DC3EEF58}"/>
              </a:ext>
            </a:extLst>
          </p:cNvPr>
          <p:cNvSpPr txBox="1"/>
          <p:nvPr/>
        </p:nvSpPr>
        <p:spPr>
          <a:xfrm>
            <a:off x="517236" y="4986951"/>
            <a:ext cx="211288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/>
              <a:t>Local environment</a:t>
            </a:r>
          </a:p>
        </p:txBody>
      </p:sp>
      <p:sp>
        <p:nvSpPr>
          <p:cNvPr id="71" name="Flowchart: Process 70">
            <a:extLst>
              <a:ext uri="{FF2B5EF4-FFF2-40B4-BE49-F238E27FC236}">
                <a16:creationId xmlns:a16="http://schemas.microsoft.com/office/drawing/2014/main" id="{0C04D0A7-1596-4A7F-BC09-67343DA4CDF8}"/>
              </a:ext>
            </a:extLst>
          </p:cNvPr>
          <p:cNvSpPr/>
          <p:nvPr/>
        </p:nvSpPr>
        <p:spPr>
          <a:xfrm>
            <a:off x="4180381" y="911427"/>
            <a:ext cx="3008657" cy="1415608"/>
          </a:xfrm>
          <a:prstGeom prst="flowChart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</a:rPr>
              <a:t>Publicly available. Can be installed by anyone.</a:t>
            </a:r>
          </a:p>
        </p:txBody>
      </p:sp>
      <p:sp>
        <p:nvSpPr>
          <p:cNvPr id="73" name="Arrow: Right 72">
            <a:extLst>
              <a:ext uri="{FF2B5EF4-FFF2-40B4-BE49-F238E27FC236}">
                <a16:creationId xmlns:a16="http://schemas.microsoft.com/office/drawing/2014/main" id="{88C8EF60-A27B-4D25-9ACA-CF7915B3E41F}"/>
              </a:ext>
            </a:extLst>
          </p:cNvPr>
          <p:cNvSpPr/>
          <p:nvPr/>
        </p:nvSpPr>
        <p:spPr>
          <a:xfrm flipH="1">
            <a:off x="7189035" y="1346122"/>
            <a:ext cx="1985143" cy="365125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err="1">
                <a:solidFill>
                  <a:schemeClr val="tx1"/>
                </a:solidFill>
              </a:rPr>
              <a:t>Github</a:t>
            </a:r>
            <a:r>
              <a:rPr lang="en-GB" sz="900">
                <a:solidFill>
                  <a:schemeClr val="tx1"/>
                </a:solidFill>
              </a:rPr>
              <a:t> release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AF1A2ED-64C4-4C30-902B-0DCF41D63635}"/>
              </a:ext>
            </a:extLst>
          </p:cNvPr>
          <p:cNvSpPr/>
          <p:nvPr/>
        </p:nvSpPr>
        <p:spPr>
          <a:xfrm>
            <a:off x="4180381" y="911427"/>
            <a:ext cx="835502" cy="2878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err="1"/>
              <a:t>Pyp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12829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6C82E-7AE4-4BD5-A34D-2D64A00BA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236" y="431285"/>
            <a:ext cx="10506367" cy="365125"/>
          </a:xfrm>
        </p:spPr>
        <p:txBody>
          <a:bodyPr/>
          <a:lstStyle/>
          <a:p>
            <a:r>
              <a:rPr lang="en-GB"/>
              <a:t>Local authoriti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6B9044-531B-432D-9C8B-2597AC5930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4B429-0189-47CD-9DDA-A001F58C55D3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EDD3A8F-23ED-4FF5-97E4-F6374519851A}"/>
              </a:ext>
            </a:extLst>
          </p:cNvPr>
          <p:cNvSpPr/>
          <p:nvPr/>
        </p:nvSpPr>
        <p:spPr>
          <a:xfrm>
            <a:off x="517236" y="3077944"/>
            <a:ext cx="11107501" cy="187274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1359E0D-2283-41CA-AE60-A69AD85E35BC}"/>
              </a:ext>
            </a:extLst>
          </p:cNvPr>
          <p:cNvSpPr/>
          <p:nvPr/>
        </p:nvSpPr>
        <p:spPr>
          <a:xfrm>
            <a:off x="3237715" y="5761874"/>
            <a:ext cx="4744913" cy="6648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developer</a:t>
            </a: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F6627712-E2D1-4179-AFA9-B41BCB22C138}"/>
              </a:ext>
            </a:extLst>
          </p:cNvPr>
          <p:cNvSpPr/>
          <p:nvPr/>
        </p:nvSpPr>
        <p:spPr>
          <a:xfrm flipV="1">
            <a:off x="5487558" y="4518294"/>
            <a:ext cx="245224" cy="1257071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4071156-CAF4-43BA-BAB6-82CEC52518DF}"/>
              </a:ext>
            </a:extLst>
          </p:cNvPr>
          <p:cNvSpPr/>
          <p:nvPr/>
        </p:nvSpPr>
        <p:spPr>
          <a:xfrm>
            <a:off x="623688" y="3502297"/>
            <a:ext cx="2528147" cy="102404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600">
                <a:solidFill>
                  <a:schemeClr val="tx1"/>
                </a:solidFill>
              </a:rPr>
              <a:t>Creates postcode dataset from source.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9722221-0211-413F-999C-09E223DF5B74}"/>
              </a:ext>
            </a:extLst>
          </p:cNvPr>
          <p:cNvSpPr/>
          <p:nvPr/>
        </p:nvSpPr>
        <p:spPr>
          <a:xfrm>
            <a:off x="623687" y="3502297"/>
            <a:ext cx="2528148" cy="291665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</a:rPr>
              <a:t>bin/generate-output-files.p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1E2AB75-578B-480A-B0E9-126D14491DDE}"/>
              </a:ext>
            </a:extLst>
          </p:cNvPr>
          <p:cNvSpPr/>
          <p:nvPr/>
        </p:nvSpPr>
        <p:spPr>
          <a:xfrm>
            <a:off x="4180381" y="5146830"/>
            <a:ext cx="3042455" cy="4064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new authority distribution zip file downloaded from website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E3D55FBF-473E-4279-B394-76CBCFCC416C}"/>
              </a:ext>
            </a:extLst>
          </p:cNvPr>
          <p:cNvCxnSpPr>
            <a:cxnSpLocks/>
            <a:stCxn id="29" idx="3"/>
          </p:cNvCxnSpPr>
          <p:nvPr/>
        </p:nvCxnSpPr>
        <p:spPr>
          <a:xfrm flipV="1">
            <a:off x="3151835" y="3992782"/>
            <a:ext cx="4830791" cy="21536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3">
            <a:extLst>
              <a:ext uri="{FF2B5EF4-FFF2-40B4-BE49-F238E27FC236}">
                <a16:creationId xmlns:a16="http://schemas.microsoft.com/office/drawing/2014/main" id="{565AF313-2C5E-4637-A24A-6385F7D88342}"/>
              </a:ext>
            </a:extLst>
          </p:cNvPr>
          <p:cNvSpPr/>
          <p:nvPr/>
        </p:nvSpPr>
        <p:spPr>
          <a:xfrm>
            <a:off x="4617261" y="3480762"/>
            <a:ext cx="1985818" cy="102404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2"/>
                </a:solidFill>
              </a:rPr>
              <a:t>source</a:t>
            </a:r>
            <a:r>
              <a:rPr lang="en-GB">
                <a:solidFill>
                  <a:schemeClr val="tx1"/>
                </a:solidFill>
              </a:rPr>
              <a:t> </a:t>
            </a:r>
            <a:r>
              <a:rPr lang="en-GB" sz="800" i="1">
                <a:solidFill>
                  <a:schemeClr val="tx1"/>
                </a:solidFill>
              </a:rPr>
              <a:t>folder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D37ACA4-49E7-4415-95AB-913333826D6D}"/>
              </a:ext>
            </a:extLst>
          </p:cNvPr>
          <p:cNvSpPr/>
          <p:nvPr/>
        </p:nvSpPr>
        <p:spPr>
          <a:xfrm>
            <a:off x="9174181" y="1065321"/>
            <a:ext cx="1849422" cy="699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err="1"/>
              <a:t>Github</a:t>
            </a:r>
            <a:endParaRPr lang="en-GB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7FC1D73-5CA8-4DED-924C-CFD6C76F5CE8}"/>
              </a:ext>
            </a:extLst>
          </p:cNvPr>
          <p:cNvSpPr/>
          <p:nvPr/>
        </p:nvSpPr>
        <p:spPr>
          <a:xfrm>
            <a:off x="7987902" y="3167162"/>
            <a:ext cx="3035701" cy="165124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  <a:p>
            <a:pPr algn="ctr"/>
            <a:r>
              <a:rPr lang="en-GB" sz="1600" dirty="0">
                <a:solidFill>
                  <a:schemeClr val="tx1"/>
                </a:solidFill>
              </a:rPr>
              <a:t>Pickled </a:t>
            </a:r>
            <a:r>
              <a:rPr lang="en-GB" sz="1600" dirty="0" err="1">
                <a:solidFill>
                  <a:schemeClr val="tx1"/>
                </a:solidFill>
              </a:rPr>
              <a:t>DataFrames</a:t>
            </a:r>
            <a:r>
              <a:rPr lang="en-GB" sz="1600" dirty="0">
                <a:solidFill>
                  <a:schemeClr val="tx1"/>
                </a:solidFill>
              </a:rPr>
              <a:t>: output files reproduced for every letter of the alphabet.</a:t>
            </a:r>
            <a:endParaRPr lang="en-GB" sz="1600" dirty="0">
              <a:solidFill>
                <a:schemeClr val="tx1"/>
              </a:solidFill>
              <a:ea typeface="Cambria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DF44A71-EA9D-4920-AB2C-30258199DD92}"/>
              </a:ext>
            </a:extLst>
          </p:cNvPr>
          <p:cNvSpPr/>
          <p:nvPr/>
        </p:nvSpPr>
        <p:spPr>
          <a:xfrm>
            <a:off x="7987901" y="3167160"/>
            <a:ext cx="3035702" cy="470302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err="1">
                <a:solidFill>
                  <a:schemeClr val="tx1"/>
                </a:solidFill>
              </a:rPr>
              <a:t>qlacref_authorities</a:t>
            </a:r>
            <a:r>
              <a:rPr lang="en-GB" sz="1400">
                <a:solidFill>
                  <a:schemeClr val="tx1"/>
                </a:solidFill>
              </a:rPr>
              <a:t> </a:t>
            </a:r>
            <a:r>
              <a:rPr lang="en-GB" sz="600" i="1">
                <a:solidFill>
                  <a:schemeClr val="tx1"/>
                </a:solidFill>
              </a:rPr>
              <a:t>folder</a:t>
            </a:r>
            <a:r>
              <a:rPr lang="en-GB" sz="6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E36B888-8337-4D23-82AF-B8E84FDB3EE0}"/>
              </a:ext>
            </a:extLst>
          </p:cNvPr>
          <p:cNvSpPr txBox="1"/>
          <p:nvPr/>
        </p:nvSpPr>
        <p:spPr>
          <a:xfrm>
            <a:off x="124287" y="6622742"/>
            <a:ext cx="311342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i="1"/>
              <a:t>The shapes used in this demonstration have no particular meaning.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CB00627-9CD3-4CDF-ADDA-D0438451D6F0}"/>
              </a:ext>
            </a:extLst>
          </p:cNvPr>
          <p:cNvSpPr txBox="1"/>
          <p:nvPr/>
        </p:nvSpPr>
        <p:spPr>
          <a:xfrm>
            <a:off x="852256" y="1402672"/>
            <a:ext cx="316045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>
                <a:solidFill>
                  <a:srgbClr val="F07F13"/>
                </a:solidFill>
              </a:rPr>
              <a:t>Pickled </a:t>
            </a:r>
            <a:r>
              <a:rPr lang="en-GB" sz="1600" err="1">
                <a:solidFill>
                  <a:srgbClr val="F07F13"/>
                </a:solidFill>
              </a:rPr>
              <a:t>DataFrames</a:t>
            </a:r>
            <a:r>
              <a:rPr lang="en-GB" sz="1600">
                <a:solidFill>
                  <a:srgbClr val="F07F13"/>
                </a:solidFill>
              </a:rPr>
              <a:t> are used for faster load times.</a:t>
            </a:r>
          </a:p>
        </p:txBody>
      </p:sp>
      <p:sp>
        <p:nvSpPr>
          <p:cNvPr id="68" name="Arrow: Up 67">
            <a:extLst>
              <a:ext uri="{FF2B5EF4-FFF2-40B4-BE49-F238E27FC236}">
                <a16:creationId xmlns:a16="http://schemas.microsoft.com/office/drawing/2014/main" id="{699265A9-3F2D-49F1-A541-EB433636A4D1}"/>
              </a:ext>
            </a:extLst>
          </p:cNvPr>
          <p:cNvSpPr/>
          <p:nvPr/>
        </p:nvSpPr>
        <p:spPr>
          <a:xfrm>
            <a:off x="9827581" y="1815420"/>
            <a:ext cx="568170" cy="1262523"/>
          </a:xfrm>
          <a:prstGeom prst="upArrow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B5509A0-D442-41AA-B405-F488DC3EEF58}"/>
              </a:ext>
            </a:extLst>
          </p:cNvPr>
          <p:cNvSpPr txBox="1"/>
          <p:nvPr/>
        </p:nvSpPr>
        <p:spPr>
          <a:xfrm>
            <a:off x="517236" y="4986951"/>
            <a:ext cx="211288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/>
              <a:t>Local environment</a:t>
            </a:r>
          </a:p>
        </p:txBody>
      </p:sp>
      <p:sp>
        <p:nvSpPr>
          <p:cNvPr id="71" name="Flowchart: Process 70">
            <a:extLst>
              <a:ext uri="{FF2B5EF4-FFF2-40B4-BE49-F238E27FC236}">
                <a16:creationId xmlns:a16="http://schemas.microsoft.com/office/drawing/2014/main" id="{0C04D0A7-1596-4A7F-BC09-67343DA4CDF8}"/>
              </a:ext>
            </a:extLst>
          </p:cNvPr>
          <p:cNvSpPr/>
          <p:nvPr/>
        </p:nvSpPr>
        <p:spPr>
          <a:xfrm>
            <a:off x="4180381" y="911427"/>
            <a:ext cx="3008657" cy="1415608"/>
          </a:xfrm>
          <a:prstGeom prst="flowChart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</a:rPr>
              <a:t>Publicly available. Can be installed by anyone.</a:t>
            </a:r>
          </a:p>
        </p:txBody>
      </p:sp>
      <p:sp>
        <p:nvSpPr>
          <p:cNvPr id="73" name="Arrow: Right 72">
            <a:extLst>
              <a:ext uri="{FF2B5EF4-FFF2-40B4-BE49-F238E27FC236}">
                <a16:creationId xmlns:a16="http://schemas.microsoft.com/office/drawing/2014/main" id="{88C8EF60-A27B-4D25-9ACA-CF7915B3E41F}"/>
              </a:ext>
            </a:extLst>
          </p:cNvPr>
          <p:cNvSpPr/>
          <p:nvPr/>
        </p:nvSpPr>
        <p:spPr>
          <a:xfrm flipH="1">
            <a:off x="7189035" y="1346122"/>
            <a:ext cx="1985143" cy="365125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err="1">
                <a:solidFill>
                  <a:schemeClr val="tx1"/>
                </a:solidFill>
              </a:rPr>
              <a:t>Github</a:t>
            </a:r>
            <a:r>
              <a:rPr lang="en-GB" sz="900">
                <a:solidFill>
                  <a:schemeClr val="tx1"/>
                </a:solidFill>
              </a:rPr>
              <a:t> release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AF1A2ED-64C4-4C30-902B-0DCF41D63635}"/>
              </a:ext>
            </a:extLst>
          </p:cNvPr>
          <p:cNvSpPr/>
          <p:nvPr/>
        </p:nvSpPr>
        <p:spPr>
          <a:xfrm>
            <a:off x="4180381" y="911427"/>
            <a:ext cx="835502" cy="2878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err="1"/>
              <a:t>Pypi</a:t>
            </a:r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1ADCA08-CCF5-FAD6-A7BC-4FC2903A1BC5}"/>
              </a:ext>
            </a:extLst>
          </p:cNvPr>
          <p:cNvSpPr/>
          <p:nvPr/>
        </p:nvSpPr>
        <p:spPr>
          <a:xfrm>
            <a:off x="9804400" y="6633380"/>
            <a:ext cx="2387600" cy="196027"/>
          </a:xfrm>
          <a:prstGeom prst="rect">
            <a:avLst/>
          </a:prstGeom>
          <a:solidFill>
            <a:schemeClr val="bg1"/>
          </a:solidFill>
          <a:ln w="3175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i="1" dirty="0">
                <a:solidFill>
                  <a:schemeClr val="tx1"/>
                </a:solidFill>
              </a:rPr>
              <a:t>Drawn by Tambe</a:t>
            </a:r>
            <a:endParaRPr lang="en-GB" sz="8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4368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F_PPT_BLUE_v10 - Copy">
  <a:themeElements>
    <a:clrScheme name="SF_BLUE_2011">
      <a:dk1>
        <a:sysClr val="windowText" lastClr="000000"/>
      </a:dk1>
      <a:lt1>
        <a:sysClr val="window" lastClr="FFFFFF"/>
      </a:lt1>
      <a:dk2>
        <a:srgbClr val="556991"/>
      </a:dk2>
      <a:lt2>
        <a:srgbClr val="FFFFFF"/>
      </a:lt2>
      <a:accent1>
        <a:srgbClr val="556991"/>
      </a:accent1>
      <a:accent2>
        <a:srgbClr val="8896B2"/>
      </a:accent2>
      <a:accent3>
        <a:srgbClr val="BBC3D3"/>
      </a:accent3>
      <a:accent4>
        <a:srgbClr val="4C4C4C"/>
      </a:accent4>
      <a:accent5>
        <a:srgbClr val="999999"/>
      </a:accent5>
      <a:accent6>
        <a:srgbClr val="CCCCCC"/>
      </a:accent6>
      <a:hlink>
        <a:srgbClr val="000000"/>
      </a:hlink>
      <a:folHlink>
        <a:srgbClr val="000000"/>
      </a:folHlink>
    </a:clrScheme>
    <a:fontScheme name="SF_2011">
      <a:majorFont>
        <a:latin typeface="Gill Sans MT"/>
        <a:ea typeface=""/>
        <a:cs typeface=""/>
      </a:majorFont>
      <a:minorFont>
        <a:latin typeface="Cambr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Pantone 165U">
      <a:srgbClr val="F07F13"/>
    </a:custClr>
    <a:custClr name="Pantone 313U">
      <a:srgbClr val="0087B1"/>
    </a:custClr>
    <a:custClr name="Pantone 259U">
      <a:srgbClr val="773C80"/>
    </a:custClr>
    <a:custClr name="Pantone 233U">
      <a:srgbClr val="CD007F"/>
    </a:custClr>
    <a:custClr name="Pantone 408U">
      <a:srgbClr val="9B8F8B"/>
    </a:custClr>
    <a:custClr name="Pantone 653U">
      <a:srgbClr val="556991"/>
    </a:custClr>
    <a:custClr name="Pantone 4515U">
      <a:srgbClr val="B3A47C"/>
    </a:custClr>
    <a:custClr name="Pantone 2622U">
      <a:srgbClr val="5B2856"/>
    </a:custClr>
  </a:custClrLst>
  <a:extLst>
    <a:ext uri="{05A4C25C-085E-4340-85A3-A5531E510DB2}">
      <thm15:themeFamily xmlns:thm15="http://schemas.microsoft.com/office/thememl/2012/main" name="gmca kick-off" id="{A6FCFE94-AB52-42E2-969F-25BA999CB9CA}" vid="{4FB2F34A-0450-46B3-AD09-3DA82B943D5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SharedWithUsers xmlns="10c7aebe-4fbf-4ba7-8a4f-ec2280e6e811">
      <UserInfo>
        <DisplayName>Will Damazer</DisplayName>
        <AccountId>116</AccountId>
        <AccountType/>
      </UserInfo>
    </SharedWithUsers>
    <lcf76f155ced4ddcb4097134ff3c332f xmlns="b8564795-c720-49db-8141-4dd6b7267b64">
      <Terms xmlns="http://schemas.microsoft.com/office/infopath/2007/PartnerControls"/>
    </lcf76f155ced4ddcb4097134ff3c332f>
    <TaxCatchAll xmlns="10c7aebe-4fbf-4ba7-8a4f-ec2280e6e81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B3B2B28E9F8440AA53EA1E89939003" ma:contentTypeVersion="18" ma:contentTypeDescription="Create a new document." ma:contentTypeScope="" ma:versionID="bb1fd9bc85c8d61ee1439ee0266c9ce7">
  <xsd:schema xmlns:xsd="http://www.w3.org/2001/XMLSchema" xmlns:xs="http://www.w3.org/2001/XMLSchema" xmlns:p="http://schemas.microsoft.com/office/2006/metadata/properties" xmlns:ns1="http://schemas.microsoft.com/sharepoint/v3" xmlns:ns2="b8564795-c720-49db-8141-4dd6b7267b64" xmlns:ns3="10c7aebe-4fbf-4ba7-8a4f-ec2280e6e811" targetNamespace="http://schemas.microsoft.com/office/2006/metadata/properties" ma:root="true" ma:fieldsID="ded3a89f8b0ebf899905a6c17d4c2c99" ns1:_="" ns2:_="" ns3:_="">
    <xsd:import namespace="http://schemas.microsoft.com/sharepoint/v3"/>
    <xsd:import namespace="b8564795-c720-49db-8141-4dd6b7267b64"/>
    <xsd:import namespace="10c7aebe-4fbf-4ba7-8a4f-ec2280e6e8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1:_ip_UnifiedCompliancePolicyProperties" minOccurs="0"/>
                <xsd:element ref="ns1:_ip_UnifiedCompliancePolicyUIAc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64795-c720-49db-8141-4dd6b7267b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b3ac8ddc-6e0d-4ad7-9971-33efd8ba199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c7aebe-4fbf-4ba7-8a4f-ec2280e6e81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59546893-4343-4d54-bff1-ffb90a2e42e3}" ma:internalName="TaxCatchAll" ma:showField="CatchAllData" ma:web="10c7aebe-4fbf-4ba7-8a4f-ec2280e6e81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773127F-DF6B-415D-8811-45E6C47CF564}">
  <ds:schemaRefs>
    <ds:schemaRef ds:uri="http://purl.org/dc/terms/"/>
    <ds:schemaRef ds:uri="http://purl.org/dc/elements/1.1/"/>
    <ds:schemaRef ds:uri="http://www.w3.org/XML/1998/namespace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10c7aebe-4fbf-4ba7-8a4f-ec2280e6e811"/>
    <ds:schemaRef ds:uri="b8564795-c720-49db-8141-4dd6b7267b64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41A7BD7-E262-48E9-92F1-56D8F6525B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b8564795-c720-49db-8141-4dd6b7267b64"/>
    <ds:schemaRef ds:uri="10c7aebe-4fbf-4ba7-8a4f-ec2280e6e8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6D98DFA-AE2B-42DE-8FC8-6176588748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4</Words>
  <Application>Microsoft Office PowerPoint</Application>
  <PresentationFormat>Widescreen</PresentationFormat>
  <Paragraphs>85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Cambria</vt:lpstr>
      <vt:lpstr>Gill Sans MT</vt:lpstr>
      <vt:lpstr>SF_PPT_BLUE_v10 - Copy</vt:lpstr>
      <vt:lpstr>think-cell Slide</vt:lpstr>
      <vt:lpstr>High level design of the quality lac data validator </vt:lpstr>
      <vt:lpstr>Overall interaction</vt:lpstr>
      <vt:lpstr>PowerPoint Presentation</vt:lpstr>
      <vt:lpstr>High level design of specific parts</vt:lpstr>
      <vt:lpstr>The Frontend</vt:lpstr>
      <vt:lpstr>The 903 validator tool</vt:lpstr>
      <vt:lpstr>Reference data used in the tool</vt:lpstr>
      <vt:lpstr>postcodes</vt:lpstr>
      <vt:lpstr>Local authoriti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ssica Davies</dc:creator>
  <cp:lastModifiedBy>Tambe Tabitha</cp:lastModifiedBy>
  <cp:revision>14</cp:revision>
  <dcterms:created xsi:type="dcterms:W3CDTF">2022-02-04T06:15:57Z</dcterms:created>
  <dcterms:modified xsi:type="dcterms:W3CDTF">2022-08-25T14:0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B3B2B28E9F8440AA53EA1E89939003</vt:lpwstr>
  </property>
  <property fmtid="{D5CDD505-2E9C-101B-9397-08002B2CF9AE}" pid="3" name="MediaServiceImageTags">
    <vt:lpwstr/>
  </property>
</Properties>
</file>